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fif" ContentType="image/jpe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8" r:id="rId1"/>
  </p:sldMasterIdLst>
  <p:notesMasterIdLst>
    <p:notesMasterId r:id="rId27"/>
  </p:notesMasterIdLst>
  <p:sldIdLst>
    <p:sldId id="365" r:id="rId2"/>
    <p:sldId id="366" r:id="rId3"/>
    <p:sldId id="394" r:id="rId4"/>
    <p:sldId id="425" r:id="rId5"/>
    <p:sldId id="368" r:id="rId6"/>
    <p:sldId id="413" r:id="rId7"/>
    <p:sldId id="426" r:id="rId8"/>
    <p:sldId id="395" r:id="rId9"/>
    <p:sldId id="370" r:id="rId10"/>
    <p:sldId id="397" r:id="rId11"/>
    <p:sldId id="403" r:id="rId12"/>
    <p:sldId id="405" r:id="rId13"/>
    <p:sldId id="406" r:id="rId14"/>
    <p:sldId id="407" r:id="rId15"/>
    <p:sldId id="408" r:id="rId16"/>
    <p:sldId id="411" r:id="rId17"/>
    <p:sldId id="409" r:id="rId18"/>
    <p:sldId id="418" r:id="rId19"/>
    <p:sldId id="416" r:id="rId20"/>
    <p:sldId id="417" r:id="rId21"/>
    <p:sldId id="421" r:id="rId22"/>
    <p:sldId id="422" r:id="rId23"/>
    <p:sldId id="419" r:id="rId24"/>
    <p:sldId id="423" r:id="rId25"/>
    <p:sldId id="265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F204"/>
    <a:srgbClr val="000000"/>
    <a:srgbClr val="DB1BDB"/>
    <a:srgbClr val="AC37ED"/>
    <a:srgbClr val="FFFFFF"/>
    <a:srgbClr val="F4EAFC"/>
    <a:srgbClr val="0070C0"/>
    <a:srgbClr val="284650"/>
    <a:srgbClr val="EDB530"/>
    <a:srgbClr val="06BD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5B7205E-B7FC-40EF-870E-E67DED4EAFA7}" v="478" dt="2023-07-17T15:07:46.998"/>
    <p1510:client id="{F9665672-157B-8520-E757-AB3353A6CBF7}" v="66" dt="2023-07-31T19:07:52.038"/>
    <p1510:client id="{FF3CFE86-C943-D80F-E301-EE70FA1566A7}" v="1032" dt="2023-06-20T15:33:35.9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010" autoAdjust="0"/>
  </p:normalViewPr>
  <p:slideViewPr>
    <p:cSldViewPr snapToGrid="0">
      <p:cViewPr varScale="1">
        <p:scale>
          <a:sx n="70" d="100"/>
          <a:sy n="70" d="100"/>
        </p:scale>
        <p:origin x="50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5A7B4D-ED4F-4BA5-823D-BB7371DD0BD0}" type="datetimeFigureOut">
              <a:rPr lang="en-IN" smtClean="0"/>
              <a:t>12-01-2024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0D162A-3EEB-4860-A30A-4603846AB15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810022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jpe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hyperlink" Target="https://twitter.com/changepondonweb" TargetMode="External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image" Target="../media/image9.png"/><Relationship Id="rId7" Type="http://schemas.openxmlformats.org/officeDocument/2006/relationships/image" Target="../media/image11.png"/><Relationship Id="rId12" Type="http://schemas.openxmlformats.org/officeDocument/2006/relationships/hyperlink" Target="https://plus.google.com/+ChangepondTechnologiesLtd" TargetMode="External"/><Relationship Id="rId17" Type="http://schemas.openxmlformats.org/officeDocument/2006/relationships/image" Target="../media/image18.png"/><Relationship Id="rId2" Type="http://schemas.openxmlformats.org/officeDocument/2006/relationships/image" Target="../media/image5.png"/><Relationship Id="rId16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youtube.com/user/changepond" TargetMode="External"/><Relationship Id="rId11" Type="http://schemas.openxmlformats.org/officeDocument/2006/relationships/image" Target="../media/image13.png"/><Relationship Id="rId5" Type="http://schemas.openxmlformats.org/officeDocument/2006/relationships/image" Target="../media/image10.png"/><Relationship Id="rId15" Type="http://schemas.openxmlformats.org/officeDocument/2006/relationships/image" Target="../media/image16.png"/><Relationship Id="rId10" Type="http://schemas.openxmlformats.org/officeDocument/2006/relationships/hyperlink" Target="https://www.linkedin.com/company/changepond" TargetMode="External"/><Relationship Id="rId4" Type="http://schemas.openxmlformats.org/officeDocument/2006/relationships/hyperlink" Target="https://www.facebook.com/pages/Changepond-Technologies-priavate-limited" TargetMode="External"/><Relationship Id="rId9" Type="http://schemas.openxmlformats.org/officeDocument/2006/relationships/image" Target="../media/image12.png"/><Relationship Id="rId14" Type="http://schemas.openxmlformats.org/officeDocument/2006/relationships/image" Target="../media/image1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Slide 1 with line">
    <p:bg>
      <p:bgPr>
        <a:solidFill>
          <a:srgbClr val="E6E7E7">
            <a:alpha val="9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0" y="0"/>
            <a:ext cx="12192000" cy="64273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0330" y="477080"/>
            <a:ext cx="7131327" cy="5181600"/>
          </a:xfrm>
          <a:prstGeom prst="rect">
            <a:avLst/>
          </a:prstGeom>
        </p:spPr>
      </p:pic>
      <p:sp>
        <p:nvSpPr>
          <p:cNvPr id="17" name="Freeform 1725"/>
          <p:cNvSpPr>
            <a:spLocks/>
          </p:cNvSpPr>
          <p:nvPr/>
        </p:nvSpPr>
        <p:spPr bwMode="auto">
          <a:xfrm flipH="1">
            <a:off x="0" y="4287914"/>
            <a:ext cx="12189441" cy="2570087"/>
          </a:xfrm>
          <a:custGeom>
            <a:avLst/>
            <a:gdLst>
              <a:gd name="T0" fmla="*/ 14252 w 14296"/>
              <a:gd name="T1" fmla="*/ 2771 h 5728"/>
              <a:gd name="T2" fmla="*/ 14044 w 14296"/>
              <a:gd name="T3" fmla="*/ 3007 h 5728"/>
              <a:gd name="T4" fmla="*/ 13797 w 14296"/>
              <a:gd name="T5" fmla="*/ 3201 h 5728"/>
              <a:gd name="T6" fmla="*/ 13509 w 14296"/>
              <a:gd name="T7" fmla="*/ 3355 h 5728"/>
              <a:gd name="T8" fmla="*/ 13182 w 14296"/>
              <a:gd name="T9" fmla="*/ 3466 h 5728"/>
              <a:gd name="T10" fmla="*/ 12813 w 14296"/>
              <a:gd name="T11" fmla="*/ 3534 h 5728"/>
              <a:gd name="T12" fmla="*/ 12403 w 14296"/>
              <a:gd name="T13" fmla="*/ 3556 h 5728"/>
              <a:gd name="T14" fmla="*/ 11952 w 14296"/>
              <a:gd name="T15" fmla="*/ 3530 h 5728"/>
              <a:gd name="T16" fmla="*/ 11460 w 14296"/>
              <a:gd name="T17" fmla="*/ 3458 h 5728"/>
              <a:gd name="T18" fmla="*/ 10924 w 14296"/>
              <a:gd name="T19" fmla="*/ 3335 h 5728"/>
              <a:gd name="T20" fmla="*/ 10348 w 14296"/>
              <a:gd name="T21" fmla="*/ 3164 h 5728"/>
              <a:gd name="T22" fmla="*/ 9729 w 14296"/>
              <a:gd name="T23" fmla="*/ 2941 h 5728"/>
              <a:gd name="T24" fmla="*/ 9068 w 14296"/>
              <a:gd name="T25" fmla="*/ 2664 h 5728"/>
              <a:gd name="T26" fmla="*/ 8364 w 14296"/>
              <a:gd name="T27" fmla="*/ 2333 h 5728"/>
              <a:gd name="T28" fmla="*/ 7618 w 14296"/>
              <a:gd name="T29" fmla="*/ 1947 h 5728"/>
              <a:gd name="T30" fmla="*/ 6828 w 14296"/>
              <a:gd name="T31" fmla="*/ 1505 h 5728"/>
              <a:gd name="T32" fmla="*/ 6206 w 14296"/>
              <a:gd name="T33" fmla="*/ 1135 h 5728"/>
              <a:gd name="T34" fmla="*/ 5579 w 14296"/>
              <a:gd name="T35" fmla="*/ 779 h 5728"/>
              <a:gd name="T36" fmla="*/ 4803 w 14296"/>
              <a:gd name="T37" fmla="*/ 421 h 5728"/>
              <a:gd name="T38" fmla="*/ 4095 w 14296"/>
              <a:gd name="T39" fmla="*/ 180 h 5728"/>
              <a:gd name="T40" fmla="*/ 3450 w 14296"/>
              <a:gd name="T41" fmla="*/ 45 h 5728"/>
              <a:gd name="T42" fmla="*/ 2867 w 14296"/>
              <a:gd name="T43" fmla="*/ 0 h 5728"/>
              <a:gd name="T44" fmla="*/ 2345 w 14296"/>
              <a:gd name="T45" fmla="*/ 32 h 5728"/>
              <a:gd name="T46" fmla="*/ 1880 w 14296"/>
              <a:gd name="T47" fmla="*/ 129 h 5728"/>
              <a:gd name="T48" fmla="*/ 1473 w 14296"/>
              <a:gd name="T49" fmla="*/ 274 h 5728"/>
              <a:gd name="T50" fmla="*/ 1120 w 14296"/>
              <a:gd name="T51" fmla="*/ 457 h 5728"/>
              <a:gd name="T52" fmla="*/ 819 w 14296"/>
              <a:gd name="T53" fmla="*/ 661 h 5728"/>
              <a:gd name="T54" fmla="*/ 569 w 14296"/>
              <a:gd name="T55" fmla="*/ 874 h 5728"/>
              <a:gd name="T56" fmla="*/ 243 w 14296"/>
              <a:gd name="T57" fmla="*/ 1229 h 5728"/>
              <a:gd name="T58" fmla="*/ 11 w 14296"/>
              <a:gd name="T59" fmla="*/ 1573 h 5728"/>
              <a:gd name="T60" fmla="*/ 0 w 14296"/>
              <a:gd name="T61" fmla="*/ 5728 h 5728"/>
              <a:gd name="T62" fmla="*/ 14296 w 14296"/>
              <a:gd name="T63" fmla="*/ 2706 h 5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296" h="5728">
                <a:moveTo>
                  <a:pt x="14296" y="2706"/>
                </a:moveTo>
                <a:lnTo>
                  <a:pt x="14252" y="2771"/>
                </a:lnTo>
                <a:lnTo>
                  <a:pt x="14152" y="2893"/>
                </a:lnTo>
                <a:lnTo>
                  <a:pt x="14044" y="3007"/>
                </a:lnTo>
                <a:lnTo>
                  <a:pt x="13925" y="3109"/>
                </a:lnTo>
                <a:lnTo>
                  <a:pt x="13797" y="3201"/>
                </a:lnTo>
                <a:lnTo>
                  <a:pt x="13659" y="3283"/>
                </a:lnTo>
                <a:lnTo>
                  <a:pt x="13509" y="3355"/>
                </a:lnTo>
                <a:lnTo>
                  <a:pt x="13350" y="3416"/>
                </a:lnTo>
                <a:lnTo>
                  <a:pt x="13182" y="3466"/>
                </a:lnTo>
                <a:lnTo>
                  <a:pt x="13002" y="3505"/>
                </a:lnTo>
                <a:lnTo>
                  <a:pt x="12813" y="3534"/>
                </a:lnTo>
                <a:lnTo>
                  <a:pt x="12613" y="3550"/>
                </a:lnTo>
                <a:lnTo>
                  <a:pt x="12403" y="3556"/>
                </a:lnTo>
                <a:lnTo>
                  <a:pt x="12183" y="3548"/>
                </a:lnTo>
                <a:lnTo>
                  <a:pt x="11952" y="3530"/>
                </a:lnTo>
                <a:lnTo>
                  <a:pt x="11710" y="3499"/>
                </a:lnTo>
                <a:lnTo>
                  <a:pt x="11460" y="3458"/>
                </a:lnTo>
                <a:lnTo>
                  <a:pt x="11198" y="3403"/>
                </a:lnTo>
                <a:lnTo>
                  <a:pt x="10924" y="3335"/>
                </a:lnTo>
                <a:lnTo>
                  <a:pt x="10642" y="3256"/>
                </a:lnTo>
                <a:lnTo>
                  <a:pt x="10348" y="3164"/>
                </a:lnTo>
                <a:lnTo>
                  <a:pt x="10044" y="3059"/>
                </a:lnTo>
                <a:lnTo>
                  <a:pt x="9729" y="2941"/>
                </a:lnTo>
                <a:lnTo>
                  <a:pt x="9405" y="2808"/>
                </a:lnTo>
                <a:lnTo>
                  <a:pt x="9068" y="2664"/>
                </a:lnTo>
                <a:lnTo>
                  <a:pt x="8723" y="2506"/>
                </a:lnTo>
                <a:lnTo>
                  <a:pt x="8364" y="2333"/>
                </a:lnTo>
                <a:lnTo>
                  <a:pt x="7997" y="2147"/>
                </a:lnTo>
                <a:lnTo>
                  <a:pt x="7618" y="1947"/>
                </a:lnTo>
                <a:lnTo>
                  <a:pt x="7228" y="1734"/>
                </a:lnTo>
                <a:lnTo>
                  <a:pt x="6828" y="1505"/>
                </a:lnTo>
                <a:lnTo>
                  <a:pt x="6416" y="1263"/>
                </a:lnTo>
                <a:lnTo>
                  <a:pt x="6206" y="1135"/>
                </a:lnTo>
                <a:lnTo>
                  <a:pt x="5993" y="1007"/>
                </a:lnTo>
                <a:lnTo>
                  <a:pt x="5579" y="779"/>
                </a:lnTo>
                <a:lnTo>
                  <a:pt x="5183" y="585"/>
                </a:lnTo>
                <a:lnTo>
                  <a:pt x="4803" y="421"/>
                </a:lnTo>
                <a:lnTo>
                  <a:pt x="4440" y="287"/>
                </a:lnTo>
                <a:lnTo>
                  <a:pt x="4095" y="180"/>
                </a:lnTo>
                <a:lnTo>
                  <a:pt x="3764" y="101"/>
                </a:lnTo>
                <a:lnTo>
                  <a:pt x="3450" y="45"/>
                </a:lnTo>
                <a:lnTo>
                  <a:pt x="3150" y="12"/>
                </a:lnTo>
                <a:lnTo>
                  <a:pt x="2867" y="0"/>
                </a:lnTo>
                <a:lnTo>
                  <a:pt x="2599" y="8"/>
                </a:lnTo>
                <a:lnTo>
                  <a:pt x="2345" y="32"/>
                </a:lnTo>
                <a:lnTo>
                  <a:pt x="2106" y="74"/>
                </a:lnTo>
                <a:lnTo>
                  <a:pt x="1880" y="129"/>
                </a:lnTo>
                <a:lnTo>
                  <a:pt x="1670" y="196"/>
                </a:lnTo>
                <a:lnTo>
                  <a:pt x="1473" y="274"/>
                </a:lnTo>
                <a:lnTo>
                  <a:pt x="1290" y="362"/>
                </a:lnTo>
                <a:lnTo>
                  <a:pt x="1120" y="457"/>
                </a:lnTo>
                <a:lnTo>
                  <a:pt x="963" y="556"/>
                </a:lnTo>
                <a:lnTo>
                  <a:pt x="819" y="661"/>
                </a:lnTo>
                <a:lnTo>
                  <a:pt x="688" y="768"/>
                </a:lnTo>
                <a:lnTo>
                  <a:pt x="569" y="874"/>
                </a:lnTo>
                <a:lnTo>
                  <a:pt x="410" y="1033"/>
                </a:lnTo>
                <a:lnTo>
                  <a:pt x="243" y="1229"/>
                </a:lnTo>
                <a:lnTo>
                  <a:pt x="121" y="1397"/>
                </a:lnTo>
                <a:lnTo>
                  <a:pt x="11" y="1573"/>
                </a:lnTo>
                <a:lnTo>
                  <a:pt x="0" y="1599"/>
                </a:lnTo>
                <a:lnTo>
                  <a:pt x="0" y="5728"/>
                </a:lnTo>
                <a:lnTo>
                  <a:pt x="14296" y="5728"/>
                </a:lnTo>
                <a:lnTo>
                  <a:pt x="14296" y="2706"/>
                </a:lnTo>
                <a:close/>
              </a:path>
            </a:pathLst>
          </a:custGeom>
          <a:solidFill>
            <a:srgbClr val="0026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6405794" y="4711064"/>
            <a:ext cx="5648446" cy="16405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ts val="600"/>
              </a:spcBef>
              <a:buNone/>
              <a:defRPr lang="en-US" sz="4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05794" y="6448152"/>
            <a:ext cx="5648445" cy="2215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9224" y="0"/>
            <a:ext cx="5781229" cy="4327663"/>
          </a:xfrm>
          <a:prstGeom prst="rect">
            <a:avLst/>
          </a:prstGeom>
        </p:spPr>
      </p:pic>
      <p:sp>
        <p:nvSpPr>
          <p:cNvPr id="12" name="Retângulo 37">
            <a:extLst>
              <a:ext uri="{FF2B5EF4-FFF2-40B4-BE49-F238E27FC236}">
                <a16:creationId xmlns:a16="http://schemas.microsoft.com/office/drawing/2014/main" xmlns="" id="{16A31662-FB7B-4804-8C49-DCD9CFAAF8FE}"/>
              </a:ext>
            </a:extLst>
          </p:cNvPr>
          <p:cNvSpPr/>
          <p:nvPr/>
        </p:nvSpPr>
        <p:spPr>
          <a:xfrm>
            <a:off x="105510" y="6350633"/>
            <a:ext cx="4536828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600" b="1" kern="0" dirty="0">
                <a:solidFill>
                  <a:prstClr val="white"/>
                </a:solidFill>
                <a:cs typeface="Calibri" panose="020F0502020204030204" pitchFamily="34" charset="0"/>
              </a:rPr>
              <a:t>Agile | Make Digital Real | Smart Automate</a:t>
            </a:r>
            <a:endParaRPr lang="en-US" sz="1600" kern="0" dirty="0">
              <a:solidFill>
                <a:prstClr val="white"/>
              </a:solidFill>
              <a:cs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B2714B4E-8CA2-4BFB-BCAA-5AEA052862C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9263" y="344555"/>
            <a:ext cx="2247352" cy="225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83617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1007" y="227197"/>
            <a:ext cx="1605381" cy="141999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59433" y="106016"/>
            <a:ext cx="11882511" cy="1325563"/>
          </a:xfr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4000" b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12" name="Retângulo 43">
            <a:extLst>
              <a:ext uri="{FF2B5EF4-FFF2-40B4-BE49-F238E27FC236}">
                <a16:creationId xmlns:a16="http://schemas.microsoft.com/office/drawing/2014/main" xmlns="" id="{9DA6AC82-56F4-42E8-9A63-106E229B350E}"/>
              </a:ext>
            </a:extLst>
          </p:cNvPr>
          <p:cNvSpPr/>
          <p:nvPr/>
        </p:nvSpPr>
        <p:spPr>
          <a:xfrm>
            <a:off x="4851040" y="6536774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r>
              <a:rPr lang="en-US" sz="900" dirty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© 2023 Changepond Technologies . All rights reserved.</a:t>
            </a:r>
          </a:p>
        </p:txBody>
      </p:sp>
      <p:sp>
        <p:nvSpPr>
          <p:cNvPr id="14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11707069" y="6555758"/>
            <a:ext cx="31931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90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9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470183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1007" y="227197"/>
            <a:ext cx="1605381" cy="141999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924334" y="2098592"/>
            <a:ext cx="4640239" cy="1325563"/>
          </a:xfr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4000" b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12" name="Retângulo 43">
            <a:extLst>
              <a:ext uri="{FF2B5EF4-FFF2-40B4-BE49-F238E27FC236}">
                <a16:creationId xmlns:a16="http://schemas.microsoft.com/office/drawing/2014/main" xmlns="" id="{9DA6AC82-56F4-42E8-9A63-106E229B350E}"/>
              </a:ext>
            </a:extLst>
          </p:cNvPr>
          <p:cNvSpPr/>
          <p:nvPr/>
        </p:nvSpPr>
        <p:spPr>
          <a:xfrm>
            <a:off x="4851040" y="6536774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r>
              <a:rPr lang="en-US" sz="900" dirty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© 2023 Changepond Technologies . All rights reserved.</a:t>
            </a:r>
          </a:p>
        </p:txBody>
      </p:sp>
      <p:sp>
        <p:nvSpPr>
          <p:cNvPr id="14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11707069" y="6555758"/>
            <a:ext cx="31931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90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9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1762737"/>
            <a:ext cx="1924334" cy="3548418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Rectangle 8"/>
          <p:cNvSpPr/>
          <p:nvPr/>
        </p:nvSpPr>
        <p:spPr>
          <a:xfrm>
            <a:off x="6564573" y="1762737"/>
            <a:ext cx="5627427" cy="3548418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8704890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Slide 1 with line">
    <p:bg>
      <p:bgPr>
        <a:solidFill>
          <a:srgbClr val="E6E7E7">
            <a:alpha val="9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0" y="0"/>
            <a:ext cx="12192000" cy="64273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Freeform 1725"/>
          <p:cNvSpPr>
            <a:spLocks/>
          </p:cNvSpPr>
          <p:nvPr/>
        </p:nvSpPr>
        <p:spPr bwMode="auto">
          <a:xfrm flipH="1">
            <a:off x="0" y="4287914"/>
            <a:ext cx="12189441" cy="2570087"/>
          </a:xfrm>
          <a:custGeom>
            <a:avLst/>
            <a:gdLst>
              <a:gd name="T0" fmla="*/ 14252 w 14296"/>
              <a:gd name="T1" fmla="*/ 2771 h 5728"/>
              <a:gd name="T2" fmla="*/ 14044 w 14296"/>
              <a:gd name="T3" fmla="*/ 3007 h 5728"/>
              <a:gd name="T4" fmla="*/ 13797 w 14296"/>
              <a:gd name="T5" fmla="*/ 3201 h 5728"/>
              <a:gd name="T6" fmla="*/ 13509 w 14296"/>
              <a:gd name="T7" fmla="*/ 3355 h 5728"/>
              <a:gd name="T8" fmla="*/ 13182 w 14296"/>
              <a:gd name="T9" fmla="*/ 3466 h 5728"/>
              <a:gd name="T10" fmla="*/ 12813 w 14296"/>
              <a:gd name="T11" fmla="*/ 3534 h 5728"/>
              <a:gd name="T12" fmla="*/ 12403 w 14296"/>
              <a:gd name="T13" fmla="*/ 3556 h 5728"/>
              <a:gd name="T14" fmla="*/ 11952 w 14296"/>
              <a:gd name="T15" fmla="*/ 3530 h 5728"/>
              <a:gd name="T16" fmla="*/ 11460 w 14296"/>
              <a:gd name="T17" fmla="*/ 3458 h 5728"/>
              <a:gd name="T18" fmla="*/ 10924 w 14296"/>
              <a:gd name="T19" fmla="*/ 3335 h 5728"/>
              <a:gd name="T20" fmla="*/ 10348 w 14296"/>
              <a:gd name="T21" fmla="*/ 3164 h 5728"/>
              <a:gd name="T22" fmla="*/ 9729 w 14296"/>
              <a:gd name="T23" fmla="*/ 2941 h 5728"/>
              <a:gd name="T24" fmla="*/ 9068 w 14296"/>
              <a:gd name="T25" fmla="*/ 2664 h 5728"/>
              <a:gd name="T26" fmla="*/ 8364 w 14296"/>
              <a:gd name="T27" fmla="*/ 2333 h 5728"/>
              <a:gd name="T28" fmla="*/ 7618 w 14296"/>
              <a:gd name="T29" fmla="*/ 1947 h 5728"/>
              <a:gd name="T30" fmla="*/ 6828 w 14296"/>
              <a:gd name="T31" fmla="*/ 1505 h 5728"/>
              <a:gd name="T32" fmla="*/ 6206 w 14296"/>
              <a:gd name="T33" fmla="*/ 1135 h 5728"/>
              <a:gd name="T34" fmla="*/ 5579 w 14296"/>
              <a:gd name="T35" fmla="*/ 779 h 5728"/>
              <a:gd name="T36" fmla="*/ 4803 w 14296"/>
              <a:gd name="T37" fmla="*/ 421 h 5728"/>
              <a:gd name="T38" fmla="*/ 4095 w 14296"/>
              <a:gd name="T39" fmla="*/ 180 h 5728"/>
              <a:gd name="T40" fmla="*/ 3450 w 14296"/>
              <a:gd name="T41" fmla="*/ 45 h 5728"/>
              <a:gd name="T42" fmla="*/ 2867 w 14296"/>
              <a:gd name="T43" fmla="*/ 0 h 5728"/>
              <a:gd name="T44" fmla="*/ 2345 w 14296"/>
              <a:gd name="T45" fmla="*/ 32 h 5728"/>
              <a:gd name="T46" fmla="*/ 1880 w 14296"/>
              <a:gd name="T47" fmla="*/ 129 h 5728"/>
              <a:gd name="T48" fmla="*/ 1473 w 14296"/>
              <a:gd name="T49" fmla="*/ 274 h 5728"/>
              <a:gd name="T50" fmla="*/ 1120 w 14296"/>
              <a:gd name="T51" fmla="*/ 457 h 5728"/>
              <a:gd name="T52" fmla="*/ 819 w 14296"/>
              <a:gd name="T53" fmla="*/ 661 h 5728"/>
              <a:gd name="T54" fmla="*/ 569 w 14296"/>
              <a:gd name="T55" fmla="*/ 874 h 5728"/>
              <a:gd name="T56" fmla="*/ 243 w 14296"/>
              <a:gd name="T57" fmla="*/ 1229 h 5728"/>
              <a:gd name="T58" fmla="*/ 11 w 14296"/>
              <a:gd name="T59" fmla="*/ 1573 h 5728"/>
              <a:gd name="T60" fmla="*/ 0 w 14296"/>
              <a:gd name="T61" fmla="*/ 5728 h 5728"/>
              <a:gd name="T62" fmla="*/ 14296 w 14296"/>
              <a:gd name="T63" fmla="*/ 2706 h 5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296" h="5728">
                <a:moveTo>
                  <a:pt x="14296" y="2706"/>
                </a:moveTo>
                <a:lnTo>
                  <a:pt x="14252" y="2771"/>
                </a:lnTo>
                <a:lnTo>
                  <a:pt x="14152" y="2893"/>
                </a:lnTo>
                <a:lnTo>
                  <a:pt x="14044" y="3007"/>
                </a:lnTo>
                <a:lnTo>
                  <a:pt x="13925" y="3109"/>
                </a:lnTo>
                <a:lnTo>
                  <a:pt x="13797" y="3201"/>
                </a:lnTo>
                <a:lnTo>
                  <a:pt x="13659" y="3283"/>
                </a:lnTo>
                <a:lnTo>
                  <a:pt x="13509" y="3355"/>
                </a:lnTo>
                <a:lnTo>
                  <a:pt x="13350" y="3416"/>
                </a:lnTo>
                <a:lnTo>
                  <a:pt x="13182" y="3466"/>
                </a:lnTo>
                <a:lnTo>
                  <a:pt x="13002" y="3505"/>
                </a:lnTo>
                <a:lnTo>
                  <a:pt x="12813" y="3534"/>
                </a:lnTo>
                <a:lnTo>
                  <a:pt x="12613" y="3550"/>
                </a:lnTo>
                <a:lnTo>
                  <a:pt x="12403" y="3556"/>
                </a:lnTo>
                <a:lnTo>
                  <a:pt x="12183" y="3548"/>
                </a:lnTo>
                <a:lnTo>
                  <a:pt x="11952" y="3530"/>
                </a:lnTo>
                <a:lnTo>
                  <a:pt x="11710" y="3499"/>
                </a:lnTo>
                <a:lnTo>
                  <a:pt x="11460" y="3458"/>
                </a:lnTo>
                <a:lnTo>
                  <a:pt x="11198" y="3403"/>
                </a:lnTo>
                <a:lnTo>
                  <a:pt x="10924" y="3335"/>
                </a:lnTo>
                <a:lnTo>
                  <a:pt x="10642" y="3256"/>
                </a:lnTo>
                <a:lnTo>
                  <a:pt x="10348" y="3164"/>
                </a:lnTo>
                <a:lnTo>
                  <a:pt x="10044" y="3059"/>
                </a:lnTo>
                <a:lnTo>
                  <a:pt x="9729" y="2941"/>
                </a:lnTo>
                <a:lnTo>
                  <a:pt x="9405" y="2808"/>
                </a:lnTo>
                <a:lnTo>
                  <a:pt x="9068" y="2664"/>
                </a:lnTo>
                <a:lnTo>
                  <a:pt x="8723" y="2506"/>
                </a:lnTo>
                <a:lnTo>
                  <a:pt x="8364" y="2333"/>
                </a:lnTo>
                <a:lnTo>
                  <a:pt x="7997" y="2147"/>
                </a:lnTo>
                <a:lnTo>
                  <a:pt x="7618" y="1947"/>
                </a:lnTo>
                <a:lnTo>
                  <a:pt x="7228" y="1734"/>
                </a:lnTo>
                <a:lnTo>
                  <a:pt x="6828" y="1505"/>
                </a:lnTo>
                <a:lnTo>
                  <a:pt x="6416" y="1263"/>
                </a:lnTo>
                <a:lnTo>
                  <a:pt x="6206" y="1135"/>
                </a:lnTo>
                <a:lnTo>
                  <a:pt x="5993" y="1007"/>
                </a:lnTo>
                <a:lnTo>
                  <a:pt x="5579" y="779"/>
                </a:lnTo>
                <a:lnTo>
                  <a:pt x="5183" y="585"/>
                </a:lnTo>
                <a:lnTo>
                  <a:pt x="4803" y="421"/>
                </a:lnTo>
                <a:lnTo>
                  <a:pt x="4440" y="287"/>
                </a:lnTo>
                <a:lnTo>
                  <a:pt x="4095" y="180"/>
                </a:lnTo>
                <a:lnTo>
                  <a:pt x="3764" y="101"/>
                </a:lnTo>
                <a:lnTo>
                  <a:pt x="3450" y="45"/>
                </a:lnTo>
                <a:lnTo>
                  <a:pt x="3150" y="12"/>
                </a:lnTo>
                <a:lnTo>
                  <a:pt x="2867" y="0"/>
                </a:lnTo>
                <a:lnTo>
                  <a:pt x="2599" y="8"/>
                </a:lnTo>
                <a:lnTo>
                  <a:pt x="2345" y="32"/>
                </a:lnTo>
                <a:lnTo>
                  <a:pt x="2106" y="74"/>
                </a:lnTo>
                <a:lnTo>
                  <a:pt x="1880" y="129"/>
                </a:lnTo>
                <a:lnTo>
                  <a:pt x="1670" y="196"/>
                </a:lnTo>
                <a:lnTo>
                  <a:pt x="1473" y="274"/>
                </a:lnTo>
                <a:lnTo>
                  <a:pt x="1290" y="362"/>
                </a:lnTo>
                <a:lnTo>
                  <a:pt x="1120" y="457"/>
                </a:lnTo>
                <a:lnTo>
                  <a:pt x="963" y="556"/>
                </a:lnTo>
                <a:lnTo>
                  <a:pt x="819" y="661"/>
                </a:lnTo>
                <a:lnTo>
                  <a:pt x="688" y="768"/>
                </a:lnTo>
                <a:lnTo>
                  <a:pt x="569" y="874"/>
                </a:lnTo>
                <a:lnTo>
                  <a:pt x="410" y="1033"/>
                </a:lnTo>
                <a:lnTo>
                  <a:pt x="243" y="1229"/>
                </a:lnTo>
                <a:lnTo>
                  <a:pt x="121" y="1397"/>
                </a:lnTo>
                <a:lnTo>
                  <a:pt x="11" y="1573"/>
                </a:lnTo>
                <a:lnTo>
                  <a:pt x="0" y="1599"/>
                </a:lnTo>
                <a:lnTo>
                  <a:pt x="0" y="5728"/>
                </a:lnTo>
                <a:lnTo>
                  <a:pt x="14296" y="5728"/>
                </a:lnTo>
                <a:lnTo>
                  <a:pt x="14296" y="2706"/>
                </a:lnTo>
                <a:close/>
              </a:path>
            </a:pathLst>
          </a:custGeom>
          <a:solidFill>
            <a:srgbClr val="0026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6405794" y="4711064"/>
            <a:ext cx="5648446" cy="16405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ts val="600"/>
              </a:spcBef>
              <a:buNone/>
              <a:defRPr lang="en-US" sz="4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V="1">
            <a:off x="2715065" y="6625886"/>
            <a:ext cx="9324000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5518"/>
          <a:stretch/>
        </p:blipFill>
        <p:spPr>
          <a:xfrm>
            <a:off x="327432" y="6533217"/>
            <a:ext cx="2293926" cy="17238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 cstate="email">
            <a:clrChange>
              <a:clrFrom>
                <a:srgbClr val="E7F2F6"/>
              </a:clrFrom>
              <a:clrTo>
                <a:srgbClr val="E7F2F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0842" y="2446421"/>
            <a:ext cx="3690030" cy="2839453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email">
            <a:clrChange>
              <a:clrFrom>
                <a:srgbClr val="E1EEF4"/>
              </a:clrFrom>
              <a:clrTo>
                <a:srgbClr val="E1EEF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41033" y="617622"/>
            <a:ext cx="2799347" cy="2154078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9" cstate="email">
            <a:clrChange>
              <a:clrFrom>
                <a:srgbClr val="E7F2F6"/>
              </a:clrFrom>
              <a:clrTo>
                <a:srgbClr val="E7F2F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3727" y="561474"/>
            <a:ext cx="3320715" cy="2555268"/>
          </a:xfrm>
          <a:prstGeom prst="rect">
            <a:avLst/>
          </a:prstGeom>
          <a:ln>
            <a:solidFill>
              <a:schemeClr val="bg1"/>
            </a:solidFill>
          </a:ln>
        </p:spPr>
      </p:pic>
      <p:grpSp>
        <p:nvGrpSpPr>
          <p:cNvPr id="20" name="Group 19"/>
          <p:cNvGrpSpPr/>
          <p:nvPr/>
        </p:nvGrpSpPr>
        <p:grpSpPr>
          <a:xfrm>
            <a:off x="11186160" y="2853795"/>
            <a:ext cx="1005840" cy="1005840"/>
            <a:chOff x="10437085" y="2994163"/>
            <a:chExt cx="1005840" cy="1005840"/>
          </a:xfrm>
        </p:grpSpPr>
        <p:sp>
          <p:nvSpPr>
            <p:cNvPr id="21" name="Oval 20"/>
            <p:cNvSpPr/>
            <p:nvPr/>
          </p:nvSpPr>
          <p:spPr>
            <a:xfrm>
              <a:off x="10437085" y="2994163"/>
              <a:ext cx="1005840" cy="1005840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10753878" y="3312975"/>
              <a:ext cx="351924" cy="368215"/>
            </a:xfrm>
            <a:custGeom>
              <a:avLst/>
              <a:gdLst>
                <a:gd name="T0" fmla="*/ 174 w 181"/>
                <a:gd name="T1" fmla="*/ 78 h 190"/>
                <a:gd name="T2" fmla="*/ 105 w 181"/>
                <a:gd name="T3" fmla="*/ 9 h 190"/>
                <a:gd name="T4" fmla="*/ 73 w 181"/>
                <a:gd name="T5" fmla="*/ 9 h 190"/>
                <a:gd name="T6" fmla="*/ 73 w 181"/>
                <a:gd name="T7" fmla="*/ 41 h 190"/>
                <a:gd name="T8" fmla="*/ 100 w 181"/>
                <a:gd name="T9" fmla="*/ 68 h 190"/>
                <a:gd name="T10" fmla="*/ 26 w 181"/>
                <a:gd name="T11" fmla="*/ 68 h 190"/>
                <a:gd name="T12" fmla="*/ 0 w 181"/>
                <a:gd name="T13" fmla="*/ 92 h 190"/>
                <a:gd name="T14" fmla="*/ 26 w 181"/>
                <a:gd name="T15" fmla="*/ 116 h 190"/>
                <a:gd name="T16" fmla="*/ 104 w 181"/>
                <a:gd name="T17" fmla="*/ 116 h 190"/>
                <a:gd name="T18" fmla="*/ 73 w 181"/>
                <a:gd name="T19" fmla="*/ 148 h 190"/>
                <a:gd name="T20" fmla="*/ 73 w 181"/>
                <a:gd name="T21" fmla="*/ 181 h 190"/>
                <a:gd name="T22" fmla="*/ 105 w 181"/>
                <a:gd name="T23" fmla="*/ 181 h 190"/>
                <a:gd name="T24" fmla="*/ 174 w 181"/>
                <a:gd name="T25" fmla="*/ 112 h 190"/>
                <a:gd name="T26" fmla="*/ 181 w 181"/>
                <a:gd name="T27" fmla="*/ 95 h 190"/>
                <a:gd name="T28" fmla="*/ 174 w 181"/>
                <a:gd name="T29" fmla="*/ 7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1" h="190">
                  <a:moveTo>
                    <a:pt x="174" y="78"/>
                  </a:moveTo>
                  <a:cubicBezTo>
                    <a:pt x="105" y="9"/>
                    <a:pt x="105" y="9"/>
                    <a:pt x="105" y="9"/>
                  </a:cubicBezTo>
                  <a:cubicBezTo>
                    <a:pt x="96" y="0"/>
                    <a:pt x="82" y="0"/>
                    <a:pt x="73" y="9"/>
                  </a:cubicBezTo>
                  <a:cubicBezTo>
                    <a:pt x="64" y="18"/>
                    <a:pt x="64" y="32"/>
                    <a:pt x="73" y="41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12" y="68"/>
                    <a:pt x="0" y="78"/>
                    <a:pt x="0" y="92"/>
                  </a:cubicBezTo>
                  <a:cubicBezTo>
                    <a:pt x="0" y="106"/>
                    <a:pt x="12" y="116"/>
                    <a:pt x="26" y="116"/>
                  </a:cubicBezTo>
                  <a:cubicBezTo>
                    <a:pt x="104" y="116"/>
                    <a:pt x="104" y="116"/>
                    <a:pt x="104" y="116"/>
                  </a:cubicBezTo>
                  <a:cubicBezTo>
                    <a:pt x="73" y="148"/>
                    <a:pt x="73" y="148"/>
                    <a:pt x="73" y="148"/>
                  </a:cubicBezTo>
                  <a:cubicBezTo>
                    <a:pt x="64" y="157"/>
                    <a:pt x="64" y="172"/>
                    <a:pt x="73" y="181"/>
                  </a:cubicBezTo>
                  <a:cubicBezTo>
                    <a:pt x="82" y="190"/>
                    <a:pt x="96" y="190"/>
                    <a:pt x="105" y="181"/>
                  </a:cubicBezTo>
                  <a:cubicBezTo>
                    <a:pt x="174" y="112"/>
                    <a:pt x="174" y="112"/>
                    <a:pt x="174" y="112"/>
                  </a:cubicBezTo>
                  <a:cubicBezTo>
                    <a:pt x="179" y="107"/>
                    <a:pt x="181" y="101"/>
                    <a:pt x="181" y="95"/>
                  </a:cubicBezTo>
                  <a:cubicBezTo>
                    <a:pt x="181" y="89"/>
                    <a:pt x="179" y="83"/>
                    <a:pt x="174" y="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9966960" y="2853795"/>
            <a:ext cx="1005840" cy="1005840"/>
            <a:chOff x="10437085" y="2994163"/>
            <a:chExt cx="1005840" cy="1005840"/>
          </a:xfrm>
        </p:grpSpPr>
        <p:sp>
          <p:nvSpPr>
            <p:cNvPr id="24" name="Oval 23"/>
            <p:cNvSpPr/>
            <p:nvPr/>
          </p:nvSpPr>
          <p:spPr>
            <a:xfrm>
              <a:off x="10437085" y="2994163"/>
              <a:ext cx="1005840" cy="1005840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10753878" y="3312975"/>
              <a:ext cx="351924" cy="368215"/>
            </a:xfrm>
            <a:custGeom>
              <a:avLst/>
              <a:gdLst>
                <a:gd name="T0" fmla="*/ 174 w 181"/>
                <a:gd name="T1" fmla="*/ 78 h 190"/>
                <a:gd name="T2" fmla="*/ 105 w 181"/>
                <a:gd name="T3" fmla="*/ 9 h 190"/>
                <a:gd name="T4" fmla="*/ 73 w 181"/>
                <a:gd name="T5" fmla="*/ 9 h 190"/>
                <a:gd name="T6" fmla="*/ 73 w 181"/>
                <a:gd name="T7" fmla="*/ 41 h 190"/>
                <a:gd name="T8" fmla="*/ 100 w 181"/>
                <a:gd name="T9" fmla="*/ 68 h 190"/>
                <a:gd name="T10" fmla="*/ 26 w 181"/>
                <a:gd name="T11" fmla="*/ 68 h 190"/>
                <a:gd name="T12" fmla="*/ 0 w 181"/>
                <a:gd name="T13" fmla="*/ 92 h 190"/>
                <a:gd name="T14" fmla="*/ 26 w 181"/>
                <a:gd name="T15" fmla="*/ 116 h 190"/>
                <a:gd name="T16" fmla="*/ 104 w 181"/>
                <a:gd name="T17" fmla="*/ 116 h 190"/>
                <a:gd name="T18" fmla="*/ 73 w 181"/>
                <a:gd name="T19" fmla="*/ 148 h 190"/>
                <a:gd name="T20" fmla="*/ 73 w 181"/>
                <a:gd name="T21" fmla="*/ 181 h 190"/>
                <a:gd name="T22" fmla="*/ 105 w 181"/>
                <a:gd name="T23" fmla="*/ 181 h 190"/>
                <a:gd name="T24" fmla="*/ 174 w 181"/>
                <a:gd name="T25" fmla="*/ 112 h 190"/>
                <a:gd name="T26" fmla="*/ 181 w 181"/>
                <a:gd name="T27" fmla="*/ 95 h 190"/>
                <a:gd name="T28" fmla="*/ 174 w 181"/>
                <a:gd name="T29" fmla="*/ 7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1" h="190">
                  <a:moveTo>
                    <a:pt x="174" y="78"/>
                  </a:moveTo>
                  <a:cubicBezTo>
                    <a:pt x="105" y="9"/>
                    <a:pt x="105" y="9"/>
                    <a:pt x="105" y="9"/>
                  </a:cubicBezTo>
                  <a:cubicBezTo>
                    <a:pt x="96" y="0"/>
                    <a:pt x="82" y="0"/>
                    <a:pt x="73" y="9"/>
                  </a:cubicBezTo>
                  <a:cubicBezTo>
                    <a:pt x="64" y="18"/>
                    <a:pt x="64" y="32"/>
                    <a:pt x="73" y="41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12" y="68"/>
                    <a:pt x="0" y="78"/>
                    <a:pt x="0" y="92"/>
                  </a:cubicBezTo>
                  <a:cubicBezTo>
                    <a:pt x="0" y="106"/>
                    <a:pt x="12" y="116"/>
                    <a:pt x="26" y="116"/>
                  </a:cubicBezTo>
                  <a:cubicBezTo>
                    <a:pt x="104" y="116"/>
                    <a:pt x="104" y="116"/>
                    <a:pt x="104" y="116"/>
                  </a:cubicBezTo>
                  <a:cubicBezTo>
                    <a:pt x="73" y="148"/>
                    <a:pt x="73" y="148"/>
                    <a:pt x="73" y="148"/>
                  </a:cubicBezTo>
                  <a:cubicBezTo>
                    <a:pt x="64" y="157"/>
                    <a:pt x="64" y="172"/>
                    <a:pt x="73" y="181"/>
                  </a:cubicBezTo>
                  <a:cubicBezTo>
                    <a:pt x="82" y="190"/>
                    <a:pt x="96" y="190"/>
                    <a:pt x="105" y="181"/>
                  </a:cubicBezTo>
                  <a:cubicBezTo>
                    <a:pt x="174" y="112"/>
                    <a:pt x="174" y="112"/>
                    <a:pt x="174" y="112"/>
                  </a:cubicBezTo>
                  <a:cubicBezTo>
                    <a:pt x="179" y="107"/>
                    <a:pt x="181" y="101"/>
                    <a:pt x="181" y="95"/>
                  </a:cubicBezTo>
                  <a:cubicBezTo>
                    <a:pt x="181" y="89"/>
                    <a:pt x="179" y="83"/>
                    <a:pt x="174" y="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8643486" y="2853795"/>
            <a:ext cx="1005840" cy="1005840"/>
            <a:chOff x="10437085" y="2994163"/>
            <a:chExt cx="1005840" cy="1005840"/>
          </a:xfrm>
        </p:grpSpPr>
        <p:sp>
          <p:nvSpPr>
            <p:cNvPr id="27" name="Oval 26"/>
            <p:cNvSpPr/>
            <p:nvPr/>
          </p:nvSpPr>
          <p:spPr>
            <a:xfrm>
              <a:off x="10437085" y="2994163"/>
              <a:ext cx="1005840" cy="1005840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Freeform 6"/>
            <p:cNvSpPr>
              <a:spLocks/>
            </p:cNvSpPr>
            <p:nvPr/>
          </p:nvSpPr>
          <p:spPr bwMode="auto">
            <a:xfrm>
              <a:off x="10753878" y="3312975"/>
              <a:ext cx="351924" cy="368215"/>
            </a:xfrm>
            <a:custGeom>
              <a:avLst/>
              <a:gdLst>
                <a:gd name="T0" fmla="*/ 174 w 181"/>
                <a:gd name="T1" fmla="*/ 78 h 190"/>
                <a:gd name="T2" fmla="*/ 105 w 181"/>
                <a:gd name="T3" fmla="*/ 9 h 190"/>
                <a:gd name="T4" fmla="*/ 73 w 181"/>
                <a:gd name="T5" fmla="*/ 9 h 190"/>
                <a:gd name="T6" fmla="*/ 73 w 181"/>
                <a:gd name="T7" fmla="*/ 41 h 190"/>
                <a:gd name="T8" fmla="*/ 100 w 181"/>
                <a:gd name="T9" fmla="*/ 68 h 190"/>
                <a:gd name="T10" fmla="*/ 26 w 181"/>
                <a:gd name="T11" fmla="*/ 68 h 190"/>
                <a:gd name="T12" fmla="*/ 0 w 181"/>
                <a:gd name="T13" fmla="*/ 92 h 190"/>
                <a:gd name="T14" fmla="*/ 26 w 181"/>
                <a:gd name="T15" fmla="*/ 116 h 190"/>
                <a:gd name="T16" fmla="*/ 104 w 181"/>
                <a:gd name="T17" fmla="*/ 116 h 190"/>
                <a:gd name="T18" fmla="*/ 73 w 181"/>
                <a:gd name="T19" fmla="*/ 148 h 190"/>
                <a:gd name="T20" fmla="*/ 73 w 181"/>
                <a:gd name="T21" fmla="*/ 181 h 190"/>
                <a:gd name="T22" fmla="*/ 105 w 181"/>
                <a:gd name="T23" fmla="*/ 181 h 190"/>
                <a:gd name="T24" fmla="*/ 174 w 181"/>
                <a:gd name="T25" fmla="*/ 112 h 190"/>
                <a:gd name="T26" fmla="*/ 181 w 181"/>
                <a:gd name="T27" fmla="*/ 95 h 190"/>
                <a:gd name="T28" fmla="*/ 174 w 181"/>
                <a:gd name="T29" fmla="*/ 7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1" h="190">
                  <a:moveTo>
                    <a:pt x="174" y="78"/>
                  </a:moveTo>
                  <a:cubicBezTo>
                    <a:pt x="105" y="9"/>
                    <a:pt x="105" y="9"/>
                    <a:pt x="105" y="9"/>
                  </a:cubicBezTo>
                  <a:cubicBezTo>
                    <a:pt x="96" y="0"/>
                    <a:pt x="82" y="0"/>
                    <a:pt x="73" y="9"/>
                  </a:cubicBezTo>
                  <a:cubicBezTo>
                    <a:pt x="64" y="18"/>
                    <a:pt x="64" y="32"/>
                    <a:pt x="73" y="41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12" y="68"/>
                    <a:pt x="0" y="78"/>
                    <a:pt x="0" y="92"/>
                  </a:cubicBezTo>
                  <a:cubicBezTo>
                    <a:pt x="0" y="106"/>
                    <a:pt x="12" y="116"/>
                    <a:pt x="26" y="116"/>
                  </a:cubicBezTo>
                  <a:cubicBezTo>
                    <a:pt x="104" y="116"/>
                    <a:pt x="104" y="116"/>
                    <a:pt x="104" y="116"/>
                  </a:cubicBezTo>
                  <a:cubicBezTo>
                    <a:pt x="73" y="148"/>
                    <a:pt x="73" y="148"/>
                    <a:pt x="73" y="148"/>
                  </a:cubicBezTo>
                  <a:cubicBezTo>
                    <a:pt x="64" y="157"/>
                    <a:pt x="64" y="172"/>
                    <a:pt x="73" y="181"/>
                  </a:cubicBezTo>
                  <a:cubicBezTo>
                    <a:pt x="82" y="190"/>
                    <a:pt x="96" y="190"/>
                    <a:pt x="105" y="181"/>
                  </a:cubicBezTo>
                  <a:cubicBezTo>
                    <a:pt x="174" y="112"/>
                    <a:pt x="174" y="112"/>
                    <a:pt x="174" y="112"/>
                  </a:cubicBezTo>
                  <a:cubicBezTo>
                    <a:pt x="179" y="107"/>
                    <a:pt x="181" y="101"/>
                    <a:pt x="181" y="95"/>
                  </a:cubicBezTo>
                  <a:cubicBezTo>
                    <a:pt x="181" y="89"/>
                    <a:pt x="179" y="83"/>
                    <a:pt x="174" y="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72114626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">
            <a:extLst>
              <a:ext uri="{FF2B5EF4-FFF2-40B4-BE49-F238E27FC236}">
                <a16:creationId xmlns:a16="http://schemas.microsoft.com/office/drawing/2014/main" xmlns="" id="{02699B51-FA02-4FDF-AE74-A1E10D8E54F8}"/>
              </a:ext>
            </a:extLst>
          </p:cNvPr>
          <p:cNvSpPr/>
          <p:nvPr/>
        </p:nvSpPr>
        <p:spPr>
          <a:xfrm>
            <a:off x="0" y="-19050"/>
            <a:ext cx="6896100" cy="68770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60" h="21600" extrusionOk="0">
                <a:moveTo>
                  <a:pt x="19674" y="13863"/>
                </a:moveTo>
                <a:cubicBezTo>
                  <a:pt x="18894" y="13386"/>
                  <a:pt x="17938" y="13367"/>
                  <a:pt x="17095" y="13671"/>
                </a:cubicBezTo>
                <a:cubicBezTo>
                  <a:pt x="16251" y="13974"/>
                  <a:pt x="15509" y="14575"/>
                  <a:pt x="14872" y="15276"/>
                </a:cubicBezTo>
                <a:cubicBezTo>
                  <a:pt x="14503" y="15683"/>
                  <a:pt x="14156" y="16133"/>
                  <a:pt x="13706" y="16415"/>
                </a:cubicBezTo>
                <a:cubicBezTo>
                  <a:pt x="13094" y="16798"/>
                  <a:pt x="12319" y="16821"/>
                  <a:pt x="11691" y="16473"/>
                </a:cubicBezTo>
                <a:cubicBezTo>
                  <a:pt x="11064" y="16125"/>
                  <a:pt x="10600" y="15416"/>
                  <a:pt x="10485" y="14631"/>
                </a:cubicBezTo>
                <a:cubicBezTo>
                  <a:pt x="10374" y="13866"/>
                  <a:pt x="10578" y="13092"/>
                  <a:pt x="10637" y="12320"/>
                </a:cubicBezTo>
                <a:cubicBezTo>
                  <a:pt x="10818" y="9919"/>
                  <a:pt x="9595" y="7669"/>
                  <a:pt x="8173" y="5887"/>
                </a:cubicBezTo>
                <a:cubicBezTo>
                  <a:pt x="5976" y="3132"/>
                  <a:pt x="3144" y="990"/>
                  <a:pt x="0" y="0"/>
                </a:cubicBezTo>
                <a:lnTo>
                  <a:pt x="0" y="21600"/>
                </a:lnTo>
                <a:lnTo>
                  <a:pt x="20743" y="21600"/>
                </a:lnTo>
                <a:cubicBezTo>
                  <a:pt x="20952" y="21249"/>
                  <a:pt x="21129" y="20876"/>
                  <a:pt x="21262" y="20473"/>
                </a:cubicBezTo>
                <a:cubicBezTo>
                  <a:pt x="21541" y="19624"/>
                  <a:pt x="21600" y="18697"/>
                  <a:pt x="21537" y="17793"/>
                </a:cubicBezTo>
                <a:cubicBezTo>
                  <a:pt x="21430" y="16243"/>
                  <a:pt x="20874" y="14598"/>
                  <a:pt x="19674" y="13863"/>
                </a:cubicBezTo>
                <a:close/>
              </a:path>
            </a:pathLst>
          </a:custGeom>
          <a:gradFill flip="none" rotWithShape="1">
            <a:gsLst>
              <a:gs pos="0">
                <a:srgbClr val="34068F">
                  <a:shade val="30000"/>
                  <a:satMod val="115000"/>
                </a:srgbClr>
              </a:gs>
              <a:gs pos="50000">
                <a:srgbClr val="34068F">
                  <a:shade val="67500"/>
                  <a:satMod val="115000"/>
                </a:srgbClr>
              </a:gs>
              <a:gs pos="100000">
                <a:srgbClr val="34068F">
                  <a:shade val="100000"/>
                  <a:satMod val="115000"/>
                </a:srgbClr>
              </a:gs>
            </a:gsLst>
            <a:lin ang="0" scaled="1"/>
            <a:tileRect/>
          </a:gradFill>
          <a:ln w="12700">
            <a:miter lim="400000"/>
          </a:ln>
          <a:effectLst/>
        </p:spPr>
        <p:txBody>
          <a:bodyPr lIns="38100" tIns="38100" rIns="38100" bIns="38100" anchor="ctr"/>
          <a:lstStyle/>
          <a:p>
            <a:pPr>
              <a:defRPr/>
            </a:pPr>
            <a:endParaRPr sz="3000" kern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29" b="44001"/>
          <a:stretch>
            <a:fillRect/>
          </a:stretch>
        </p:blipFill>
        <p:spPr>
          <a:xfrm>
            <a:off x="274422" y="3367893"/>
            <a:ext cx="2647386" cy="204424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274422" y="6468675"/>
            <a:ext cx="3505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white"/>
                </a:solidFill>
              </a:rPr>
              <a:t>Copyright </a:t>
            </a:r>
            <a:r>
              <a:rPr lang="en-US" sz="1200" dirty="0">
                <a:solidFill>
                  <a:prstClr val="white"/>
                </a:solidFill>
                <a:cs typeface="Arial" panose="020B0604020202020204" pitchFamily="34" charset="0"/>
              </a:rPr>
              <a:t>© 2023 Changepond. All rights reserved.</a:t>
            </a:r>
            <a:r>
              <a:rPr lang="en-US" sz="1200" dirty="0">
                <a:solidFill>
                  <a:prstClr val="white"/>
                </a:solidFill>
              </a:rPr>
              <a:t> </a:t>
            </a:r>
          </a:p>
        </p:txBody>
      </p:sp>
      <p:pic>
        <p:nvPicPr>
          <p:cNvPr id="35" name="Picture 4" descr="C:\Users\sanjeevkumar.s\Desktop\images\2\Asset 5.png"/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2373314" y="221264"/>
            <a:ext cx="9856786" cy="4261616"/>
          </a:xfrm>
          <a:prstGeom prst="rect">
            <a:avLst/>
          </a:prstGeom>
          <a:noFill/>
        </p:spPr>
      </p:pic>
      <p:pic>
        <p:nvPicPr>
          <p:cNvPr id="6" name="Picture 10" descr="C:\Users\sanjeevkumar.s\Desktop\Extra work ML\ML\3\Predictive analytics\facebook-logo-button.png">
            <a:hlinkClick r:id="rId4" tooltip="Facebook-Changepond"/>
          </p:cNvPr>
          <p:cNvPicPr>
            <a:picLocks noChangeAspect="1" noChangeArrowheads="1"/>
          </p:cNvPicPr>
          <p:nvPr/>
        </p:nvPicPr>
        <p:blipFill>
          <a:blip r:embed="rId5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2183" y="3737228"/>
            <a:ext cx="365760" cy="365760"/>
          </a:xfrm>
          <a:prstGeom prst="rect">
            <a:avLst/>
          </a:prstGeom>
          <a:noFill/>
        </p:spPr>
      </p:pic>
      <p:pic>
        <p:nvPicPr>
          <p:cNvPr id="7" name="Picture 12" descr="C:\Users\sanjeevkumar.s\Desktop\Extra work ML\ML\3\Predictive analytics\youtube-symbol.png">
            <a:hlinkClick r:id="rId6" tooltip="Youtube-Changepond"/>
          </p:cNvPr>
          <p:cNvPicPr>
            <a:picLocks noChangeAspect="1" noChangeArrowheads="1"/>
          </p:cNvPicPr>
          <p:nvPr/>
        </p:nvPicPr>
        <p:blipFill>
          <a:blip r:embed="rId7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8728" y="3737228"/>
            <a:ext cx="365760" cy="365760"/>
          </a:xfrm>
          <a:prstGeom prst="rect">
            <a:avLst/>
          </a:prstGeom>
          <a:noFill/>
        </p:spPr>
      </p:pic>
      <p:pic>
        <p:nvPicPr>
          <p:cNvPr id="8" name="Picture 13" descr="C:\Users\sanjeevkumar.s\Desktop\Extra work ML\ML\3\Predictive analytics\twitter-logo-button.png">
            <a:hlinkClick r:id="rId8" tooltip="Twitter-Changepond"/>
          </p:cNvPr>
          <p:cNvPicPr>
            <a:picLocks noChangeAspect="1" noChangeArrowheads="1"/>
          </p:cNvPicPr>
          <p:nvPr/>
        </p:nvPicPr>
        <p:blipFill>
          <a:blip r:embed="rId9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65273" y="3737228"/>
            <a:ext cx="365760" cy="365760"/>
          </a:xfrm>
          <a:prstGeom prst="rect">
            <a:avLst/>
          </a:prstGeom>
          <a:noFill/>
        </p:spPr>
      </p:pic>
      <p:pic>
        <p:nvPicPr>
          <p:cNvPr id="9" name="Picture 14" descr="C:\Users\sanjeevkumar.s\Desktop\Extra work ML\ML\3\Predictive analytics\linkedin-button.png">
            <a:hlinkClick r:id="rId10" tooltip="Linkedin-Changepond"/>
          </p:cNvPr>
          <p:cNvPicPr>
            <a:picLocks noChangeAspect="1" noChangeArrowheads="1"/>
          </p:cNvPicPr>
          <p:nvPr/>
        </p:nvPicPr>
        <p:blipFill>
          <a:blip r:embed="rId11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1818" y="3737228"/>
            <a:ext cx="365760" cy="365760"/>
          </a:xfrm>
          <a:prstGeom prst="rect">
            <a:avLst/>
          </a:prstGeom>
          <a:noFill/>
        </p:spPr>
      </p:pic>
      <p:pic>
        <p:nvPicPr>
          <p:cNvPr id="10" name="Picture 3" descr="C:\Users\sanjeevkumar.s\Desktop\Extra work ML\ML\3\Predictive analytics\google-plus-social-logotype.png">
            <a:hlinkClick r:id="rId12"/>
          </p:cNvPr>
          <p:cNvPicPr>
            <a:picLocks noChangeAspect="1" noChangeArrowheads="1"/>
          </p:cNvPicPr>
          <p:nvPr/>
        </p:nvPicPr>
        <p:blipFill>
          <a:blip r:embed="rId13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98364" y="3737228"/>
            <a:ext cx="365760" cy="365760"/>
          </a:xfrm>
          <a:prstGeom prst="rect">
            <a:avLst/>
          </a:prstGeom>
          <a:noFill/>
        </p:spPr>
      </p:pic>
      <p:pic>
        <p:nvPicPr>
          <p:cNvPr id="11" name="Picture 2" descr="C:\Users\sanjeevkumar.s\Desktop\Sd\sd2\ep.png"/>
          <p:cNvPicPr>
            <a:picLocks noChangeAspect="1" noChangeArrowheads="1"/>
          </p:cNvPicPr>
          <p:nvPr/>
        </p:nvPicPr>
        <p:blipFill>
          <a:blip r:embed="rId14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84857" y="5929720"/>
            <a:ext cx="457200" cy="421640"/>
          </a:xfrm>
          <a:prstGeom prst="rect">
            <a:avLst/>
          </a:prstGeom>
          <a:noFill/>
        </p:spPr>
      </p:pic>
      <p:pic>
        <p:nvPicPr>
          <p:cNvPr id="13" name="Picture 3" descr="C:\Users\sanjeevkumar.s\Desktop\Sd\sd2\financial-icon.png"/>
          <p:cNvPicPr>
            <a:picLocks noChangeAspect="1" noChangeArrowheads="1"/>
          </p:cNvPicPr>
          <p:nvPr/>
        </p:nvPicPr>
        <p:blipFill>
          <a:blip r:embed="rId15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47881" y="5911940"/>
            <a:ext cx="457200" cy="457200"/>
          </a:xfrm>
          <a:prstGeom prst="rect">
            <a:avLst/>
          </a:prstGeom>
          <a:noFill/>
        </p:spPr>
      </p:pic>
      <p:pic>
        <p:nvPicPr>
          <p:cNvPr id="14" name="Picture 4" descr="C:\Users\sanjeevkumar.s\Desktop\Sd\sd2\health-care.png"/>
          <p:cNvPicPr>
            <a:picLocks noChangeAspect="1" noChangeArrowheads="1"/>
          </p:cNvPicPr>
          <p:nvPr/>
        </p:nvPicPr>
        <p:blipFill>
          <a:blip r:embed="rId16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10905" y="5911940"/>
            <a:ext cx="457200" cy="457200"/>
          </a:xfrm>
          <a:prstGeom prst="rect">
            <a:avLst/>
          </a:prstGeom>
          <a:noFill/>
        </p:spPr>
      </p:pic>
      <p:pic>
        <p:nvPicPr>
          <p:cNvPr id="15" name="Picture 5" descr="C:\Users\sanjeevkumar.s\Desktop\Sd\sd2\manufUtil.png"/>
          <p:cNvPicPr>
            <a:picLocks noChangeAspect="1" noChangeArrowheads="1"/>
          </p:cNvPicPr>
          <p:nvPr/>
        </p:nvPicPr>
        <p:blipFill>
          <a:blip r:embed="rId17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3929" y="5911940"/>
            <a:ext cx="457200" cy="457200"/>
          </a:xfrm>
          <a:prstGeom prst="rect">
            <a:avLst/>
          </a:prstGeom>
          <a:noFill/>
        </p:spPr>
      </p:pic>
      <p:pic>
        <p:nvPicPr>
          <p:cNvPr id="16" name="Picture 2" descr="Image result for scm icon"/>
          <p:cNvPicPr>
            <a:picLocks noChangeAspect="1" noChangeArrowheads="1"/>
          </p:cNvPicPr>
          <p:nvPr/>
        </p:nvPicPr>
        <p:blipFill>
          <a:blip r:embed="rId18" cstate="email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lum bright="-21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36954" y="5911940"/>
            <a:ext cx="457200" cy="457200"/>
          </a:xfrm>
          <a:prstGeom prst="rect">
            <a:avLst/>
          </a:prstGeom>
          <a:noFill/>
        </p:spPr>
      </p:pic>
      <p:sp>
        <p:nvSpPr>
          <p:cNvPr id="17" name="TextBox 16"/>
          <p:cNvSpPr txBox="1"/>
          <p:nvPr/>
        </p:nvSpPr>
        <p:spPr>
          <a:xfrm>
            <a:off x="7234226" y="6449996"/>
            <a:ext cx="47803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i="1" dirty="0">
                <a:solidFill>
                  <a:srgbClr val="002060"/>
                </a:solidFill>
              </a:rPr>
              <a:t>Experience Trust &amp; Lasting Solution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261811" y="2422359"/>
            <a:ext cx="347832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6000" b="1" i="1" dirty="0">
                <a:solidFill>
                  <a:srgbClr val="002060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26330472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9489" y="0"/>
            <a:ext cx="11591779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9488" y="1544271"/>
            <a:ext cx="11591779" cy="47861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73910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4" r:id="rId2"/>
    <p:sldLayoutId id="2147483742" r:id="rId3"/>
    <p:sldLayoutId id="2147483741" r:id="rId4"/>
    <p:sldLayoutId id="2147483665" r:id="rId5"/>
  </p:sldLayoutIdLst>
  <p:transition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002060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fi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99731" y="5251977"/>
            <a:ext cx="5648446" cy="582153"/>
          </a:xfrm>
        </p:spPr>
        <p:txBody>
          <a:bodyPr/>
          <a:lstStyle/>
          <a:p>
            <a:r>
              <a:rPr lang="en-IN" sz="3800" dirty="0" smtClean="0"/>
              <a:t>Reflection    </a:t>
            </a:r>
            <a:endParaRPr lang="en-IN" sz="3800" dirty="0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6190495" y="5834130"/>
            <a:ext cx="5648446" cy="29881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vert="horz" lIns="0" tIns="0" rIns="0" bIns="0" rtlCol="0" anchor="b">
            <a:no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ts val="600"/>
              </a:spcBef>
              <a:buNone/>
              <a:defRPr lang="en-US" sz="4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1600" b="0" dirty="0" smtClean="0"/>
              <a:t>Nov-21-2023</a:t>
            </a:r>
            <a:endParaRPr lang="en-IN" sz="1600" b="0" dirty="0"/>
          </a:p>
        </p:txBody>
      </p:sp>
    </p:spTree>
    <p:extLst>
      <p:ext uri="{BB962C8B-B14F-4D97-AF65-F5344CB8AC3E}">
        <p14:creationId xmlns:p14="http://schemas.microsoft.com/office/powerpoint/2010/main" val="16498146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8556" y="376654"/>
            <a:ext cx="6533244" cy="4394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5017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 txBox="1">
            <a:spLocks/>
          </p:cNvSpPr>
          <p:nvPr/>
        </p:nvSpPr>
        <p:spPr>
          <a:xfrm>
            <a:off x="309488" y="662781"/>
            <a:ext cx="11591779" cy="558588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0" y="44216"/>
            <a:ext cx="11591779" cy="61856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4000" b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CREEN SHOTS IN SPRING BOOT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699" y="1100668"/>
            <a:ext cx="5524807" cy="369146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0716" y="1001130"/>
            <a:ext cx="4773483" cy="292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9331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422" y="677952"/>
            <a:ext cx="11882511" cy="727266"/>
          </a:xfrm>
        </p:spPr>
        <p:txBody>
          <a:bodyPr/>
          <a:lstStyle/>
          <a:p>
            <a:r>
              <a:rPr lang="en-US" dirty="0" smtClean="0"/>
              <a:t>API</a:t>
            </a:r>
            <a:endParaRPr lang="en-IN" dirty="0"/>
          </a:p>
        </p:txBody>
      </p:sp>
      <p:sp>
        <p:nvSpPr>
          <p:cNvPr id="5" name="TextBox 4"/>
          <p:cNvSpPr txBox="1"/>
          <p:nvPr/>
        </p:nvSpPr>
        <p:spPr>
          <a:xfrm>
            <a:off x="439474" y="1615153"/>
            <a:ext cx="1134931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dirty="0"/>
              <a:t>Interface can be thought of as a contract of service between two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applications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dirty="0"/>
              <a:t>interpreters between different programs, connecting services via endpoints and relaying messages, making software integration seamless</a:t>
            </a:r>
            <a:endParaRPr lang="en-IN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39474" y="3214801"/>
            <a:ext cx="11882511" cy="72726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4000" b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WHY API?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614285" y="4502587"/>
            <a:ext cx="972222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used to integrate new applications with existing software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systems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2000" dirty="0"/>
              <a:t>use APIs to leverage existing </a:t>
            </a:r>
            <a:r>
              <a:rPr lang="en-US" sz="2000" dirty="0" smtClean="0"/>
              <a:t>code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2000" dirty="0" smtClean="0"/>
              <a:t>allows </a:t>
            </a:r>
            <a:r>
              <a:rPr lang="en-US" sz="2000" dirty="0"/>
              <a:t>you to collect data without expending time or </a:t>
            </a:r>
            <a:r>
              <a:rPr lang="en-US" sz="2000" dirty="0" smtClean="0"/>
              <a:t>effort.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IN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7367364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433" y="495981"/>
            <a:ext cx="11882511" cy="754595"/>
          </a:xfrm>
        </p:spPr>
        <p:txBody>
          <a:bodyPr/>
          <a:lstStyle/>
          <a:p>
            <a:r>
              <a:rPr lang="en-US" dirty="0" smtClean="0"/>
              <a:t>HOW API WORKS ?</a:t>
            </a:r>
            <a:endParaRPr lang="en-IN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134" y="1344706"/>
            <a:ext cx="11238810" cy="5204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6305304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125" y="899394"/>
            <a:ext cx="11882511" cy="741148"/>
          </a:xfrm>
        </p:spPr>
        <p:txBody>
          <a:bodyPr/>
          <a:lstStyle/>
          <a:p>
            <a:r>
              <a:rPr lang="en-US" dirty="0" smtClean="0"/>
              <a:t>API TYPES </a:t>
            </a:r>
            <a:endParaRPr lang="en-IN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8574" y="1640542"/>
            <a:ext cx="8861612" cy="4903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3473806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774" y="520569"/>
            <a:ext cx="11882511" cy="931714"/>
          </a:xfrm>
        </p:spPr>
        <p:txBody>
          <a:bodyPr/>
          <a:lstStyle/>
          <a:p>
            <a:r>
              <a:rPr lang="en-US" dirty="0" smtClean="0"/>
              <a:t>SOAP API</a:t>
            </a:r>
            <a:endParaRPr lang="en-IN" dirty="0"/>
          </a:p>
        </p:txBody>
      </p:sp>
      <p:sp>
        <p:nvSpPr>
          <p:cNvPr id="3" name="Rectangle 2"/>
          <p:cNvSpPr/>
          <p:nvPr/>
        </p:nvSpPr>
        <p:spPr>
          <a:xfrm>
            <a:off x="412378" y="1344270"/>
            <a:ext cx="1097728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/>
              <a:t>SOAP (Simple Object Access Protocol) is a protocol used for exchanging structured information in the form of XML-based messages over a network. SOAP APIs (Application Programming Interfaces) follow this protocol to allow communication and interaction between different systems over the internet or within a network</a:t>
            </a:r>
            <a:r>
              <a:rPr lang="en-US" sz="2000" dirty="0" smtClean="0"/>
              <a:t>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 can work over various transport protocol like HTTP,FTP and </a:t>
            </a:r>
            <a:r>
              <a:rPr lang="en-US" sz="2000" dirty="0" err="1" smtClean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c</a:t>
            </a:r>
            <a:endParaRPr lang="en-US" sz="2000" dirty="0" smtClean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12378" y="3488607"/>
            <a:ext cx="11882511" cy="9076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4000" b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WHY SOAP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85402" y="4007502"/>
            <a:ext cx="992372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rgbClr val="040C2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ndardized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rgbClr val="040C2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ocol independenc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rgbClr val="040C2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urity </a:t>
            </a:r>
            <a:endParaRPr lang="en-IN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0622387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SOAP API</a:t>
            </a:r>
            <a:endParaRPr lang="en-IN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4267" y="903022"/>
            <a:ext cx="6255917" cy="3824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755152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93193" y="4030067"/>
            <a:ext cx="11882511" cy="606678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4000" b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ONS OF SOAP API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47194" y="4780679"/>
            <a:ext cx="976704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exity</a:t>
            </a:r>
            <a:endParaRPr lang="en-US" sz="20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ance compared to REST API</a:t>
            </a:r>
            <a:endParaRPr lang="en-US" sz="20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ght coupling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0" i="0" dirty="0" smtClean="0">
                <a:solidFill>
                  <a:srgbClr val="171717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andwidth consumption because of size.</a:t>
            </a:r>
            <a:endParaRPr lang="en-US" sz="2000" b="0" i="0" dirty="0">
              <a:solidFill>
                <a:srgbClr val="171717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84833" y="148349"/>
            <a:ext cx="11882511" cy="664451"/>
          </a:xfrm>
        </p:spPr>
        <p:txBody>
          <a:bodyPr/>
          <a:lstStyle/>
          <a:p>
            <a:r>
              <a:rPr lang="en-US" dirty="0" smtClean="0"/>
              <a:t>USED IN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86327" y="1391237"/>
            <a:ext cx="1015701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prise Applications </a:t>
            </a:r>
            <a:endParaRPr lang="en-US" sz="20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2B Applications</a:t>
            </a:r>
            <a:endParaRPr lang="en-US" sz="2000" dirty="0">
              <a:solidFill>
                <a:srgbClr val="1717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cial service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0" i="0" dirty="0" smtClean="0">
                <a:solidFill>
                  <a:srgbClr val="171717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ealthcare application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acy systems</a:t>
            </a:r>
            <a:endParaRPr lang="en-US" sz="2000" b="0" i="0" dirty="0">
              <a:solidFill>
                <a:srgbClr val="171717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1191439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AP REQ AND RESPONSE: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433" y="682146"/>
            <a:ext cx="6153466" cy="2705239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3572" y="2908757"/>
            <a:ext cx="6039160" cy="3594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034549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I EVOLUTION: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561" y="862747"/>
            <a:ext cx="8885256" cy="4423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343266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85" y="1485225"/>
            <a:ext cx="4560275" cy="4378877"/>
          </a:xfrm>
          <a:prstGeom prst="rect">
            <a:avLst/>
          </a:prstGeom>
          <a:blipFill>
            <a:blip r:embed="rId3"/>
            <a:tile tx="0" ty="0" sx="100000" sy="100000" flip="none" algn="tl"/>
          </a:blipFill>
        </p:spPr>
      </p:pic>
      <p:sp>
        <p:nvSpPr>
          <p:cNvPr id="27" name="TextBox 26"/>
          <p:cNvSpPr txBox="1"/>
          <p:nvPr/>
        </p:nvSpPr>
        <p:spPr>
          <a:xfrm>
            <a:off x="3117590" y="413411"/>
            <a:ext cx="6400800" cy="5232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800" b="1" dirty="0" smtClean="0">
                <a:solidFill>
                  <a:srgbClr val="7030A0"/>
                </a:solidFill>
              </a:rPr>
              <a:t>AGENDA</a:t>
            </a:r>
            <a:endParaRPr lang="en-IN" sz="2800" b="1" dirty="0">
              <a:solidFill>
                <a:srgbClr val="7030A0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317990" y="1176950"/>
            <a:ext cx="3711792" cy="48964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rgbClr val="7030A0"/>
                </a:solidFill>
              </a:rPr>
              <a:t>WHAT IS REFLEC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rgbClr val="7030A0"/>
                </a:solidFill>
              </a:rPr>
              <a:t>WHERE AND HOW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rgbClr val="7030A0"/>
                </a:solidFill>
              </a:rPr>
              <a:t>CONS</a:t>
            </a:r>
            <a:endParaRPr lang="en-US" dirty="0">
              <a:solidFill>
                <a:srgbClr val="7030A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rgbClr val="7030A0"/>
                </a:solidFill>
              </a:rPr>
              <a:t>SCREENSHOTS</a:t>
            </a:r>
            <a:endParaRPr lang="en-US" dirty="0">
              <a:solidFill>
                <a:srgbClr val="7030A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rgbClr val="7030A0"/>
                </a:solidFill>
              </a:rPr>
              <a:t>API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rgbClr val="7030A0"/>
                </a:solidFill>
              </a:rPr>
              <a:t>WHY API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rgbClr val="7030A0"/>
                </a:solidFill>
              </a:rPr>
              <a:t>SOAP API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rgbClr val="7030A0"/>
                </a:solidFill>
              </a:rPr>
              <a:t>SOAP REQ AND RE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rgbClr val="7030A0"/>
                </a:solidFill>
              </a:rPr>
              <a:t>API EVOLU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rgbClr val="7030A0"/>
                </a:solidFill>
              </a:rPr>
              <a:t>REST API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rgbClr val="7030A0"/>
                </a:solidFill>
              </a:rPr>
              <a:t>FACTORS FOR EVOLU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rgbClr val="7030A0"/>
                </a:solidFill>
              </a:rPr>
              <a:t>REST REQ AND RE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rgbClr val="7030A0"/>
                </a:solidFill>
              </a:rPr>
              <a:t>HTTP </a:t>
            </a:r>
            <a:r>
              <a:rPr lang="en-US" dirty="0">
                <a:solidFill>
                  <a:srgbClr val="7030A0"/>
                </a:solidFill>
              </a:rPr>
              <a:t>REQ AND RE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 smtClean="0">
              <a:solidFill>
                <a:srgbClr val="7030A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 smtClean="0">
              <a:solidFill>
                <a:srgbClr val="7030A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 smtClean="0">
              <a:solidFill>
                <a:srgbClr val="7030A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 smtClean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64967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93193" y="4030067"/>
            <a:ext cx="11882511" cy="606678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4000" b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84833" y="130242"/>
            <a:ext cx="11882511" cy="664451"/>
          </a:xfrm>
        </p:spPr>
        <p:txBody>
          <a:bodyPr/>
          <a:lstStyle/>
          <a:p>
            <a:r>
              <a:rPr lang="en-US" dirty="0" smtClean="0"/>
              <a:t>REST API: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84833" y="721280"/>
            <a:ext cx="10157012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1" dirty="0" smtClean="0"/>
              <a:t>REST  improved </a:t>
            </a:r>
            <a:r>
              <a:rPr lang="en-US" sz="2000" b="1" dirty="0"/>
              <a:t>from where SOAP left </a:t>
            </a:r>
            <a:r>
              <a:rPr lang="en-US" sz="2000" b="1" dirty="0" smtClean="0"/>
              <a:t>off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/>
              <a:t>in contrast with SOAP's complex and weighty structure, emerged as an easier and lighter approach for creating web APIs</a:t>
            </a:r>
            <a:r>
              <a:rPr lang="en-US" sz="2000" dirty="0" smtClean="0"/>
              <a:t>.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/>
              <a:t>REST's primary advantage lies in its ease of use: </a:t>
            </a:r>
            <a:r>
              <a:rPr lang="en-US" sz="2000" dirty="0" err="1"/>
              <a:t>RESTful</a:t>
            </a:r>
            <a:r>
              <a:rPr lang="en-US" sz="2000" dirty="0"/>
              <a:t> APIs take advantage of HTTP, which has long been widely supported across web servers and clients, to facilitate rapid </a:t>
            </a:r>
            <a:r>
              <a:rPr lang="en-US" sz="2000" dirty="0" smtClean="0"/>
              <a:t>development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/>
              <a:t>data can be exchanged using lightweight formats like </a:t>
            </a:r>
            <a:r>
              <a:rPr lang="en-US" sz="2000" b="1" dirty="0"/>
              <a:t>JSON</a:t>
            </a:r>
            <a:r>
              <a:rPr lang="en-US" sz="2000" dirty="0"/>
              <a:t> (JavaScript Object Notation)</a:t>
            </a:r>
            <a:endParaRPr lang="en-US" sz="2000" b="0" i="0" dirty="0" smtClean="0">
              <a:solidFill>
                <a:srgbClr val="171717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7284917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93193" y="4030067"/>
            <a:ext cx="11882511" cy="606678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4000" b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84833" y="130242"/>
            <a:ext cx="11882511" cy="664451"/>
          </a:xfrm>
        </p:spPr>
        <p:txBody>
          <a:bodyPr/>
          <a:lstStyle/>
          <a:p>
            <a:r>
              <a:rPr lang="en-US" dirty="0" smtClean="0"/>
              <a:t>WHERE REST USED: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84833" y="721280"/>
            <a:ext cx="10157012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 smtClean="0"/>
              <a:t>Web development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 smtClean="0"/>
              <a:t>Public APIs like social media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 smtClean="0"/>
              <a:t>E-Commerce site where the URI can be accessed from other sites for visibility increase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0" i="0" dirty="0" err="1" smtClean="0">
                <a:solidFill>
                  <a:srgbClr val="171717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oT</a:t>
            </a:r>
            <a:r>
              <a:rPr lang="en-US" sz="2000" b="0" i="0" dirty="0" smtClean="0">
                <a:solidFill>
                  <a:srgbClr val="171717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– Since most of </a:t>
            </a:r>
            <a:r>
              <a:rPr lang="en-US" sz="2000" b="0" i="0" dirty="0" err="1" smtClean="0">
                <a:solidFill>
                  <a:srgbClr val="171717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ot</a:t>
            </a:r>
            <a:r>
              <a:rPr lang="en-US" sz="2000" b="0" i="0" dirty="0" smtClean="0">
                <a:solidFill>
                  <a:srgbClr val="171717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devices uses comparatively smaller processing unit using REST </a:t>
            </a:r>
            <a:r>
              <a:rPr lang="en-US" sz="2000" b="0" i="0" dirty="0" err="1" smtClean="0">
                <a:solidFill>
                  <a:srgbClr val="171717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pi</a:t>
            </a:r>
            <a:r>
              <a:rPr lang="en-US" sz="2000" b="0" i="0" dirty="0" smtClean="0">
                <a:solidFill>
                  <a:srgbClr val="171717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would not add more weightage on it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rgbClr val="17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bile App development</a:t>
            </a:r>
            <a:endParaRPr lang="en-US" sz="2000" b="0" i="0" dirty="0" smtClean="0">
              <a:solidFill>
                <a:srgbClr val="171717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2000" b="0" i="0" dirty="0" smtClean="0">
              <a:solidFill>
                <a:srgbClr val="171717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76319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93193" y="4030067"/>
            <a:ext cx="11882511" cy="606678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4000" b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84833" y="130242"/>
            <a:ext cx="11882511" cy="664451"/>
          </a:xfrm>
        </p:spPr>
        <p:txBody>
          <a:bodyPr/>
          <a:lstStyle/>
          <a:p>
            <a:r>
              <a:rPr lang="en-US" dirty="0" smtClean="0"/>
              <a:t>FACTOR DRIVING EVOLUTION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610345" y="794693"/>
            <a:ext cx="10157012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/>
              <a:t>The shift towards more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lightweight</a:t>
            </a:r>
            <a:r>
              <a:rPr lang="en-US" sz="2000" dirty="0"/>
              <a:t> and agile development </a:t>
            </a:r>
            <a:r>
              <a:rPr lang="en-US" sz="2000" dirty="0" smtClean="0"/>
              <a:t>practices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/>
              <a:t>Mobile and Single Page Applications (SPAs</a:t>
            </a:r>
            <a:r>
              <a:rPr lang="en-US" sz="2000" dirty="0" smtClean="0"/>
              <a:t>)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0" i="0" dirty="0" smtClean="0">
                <a:solidFill>
                  <a:srgbClr val="171717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mergence of Social media app and E-Commerc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ompatibility with Web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Standard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/>
              <a:t>REST is considered more flexible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en-US" sz="2000" dirty="0"/>
              <a:t> agile, allowing for quick development and iterations. It is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well-suited</a:t>
            </a:r>
            <a:r>
              <a:rPr lang="en-US" sz="2000" dirty="0"/>
              <a:t> for scenarios where rapid changes and updates are frequent</a:t>
            </a:r>
            <a:r>
              <a:rPr lang="en-US" sz="2000" dirty="0" smtClean="0"/>
              <a:t>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i="0" dirty="0" smtClean="0">
                <a:solidFill>
                  <a:srgbClr val="171717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andling of multimedia file</a:t>
            </a:r>
          </a:p>
        </p:txBody>
      </p:sp>
    </p:spTree>
    <p:extLst>
      <p:ext uri="{BB962C8B-B14F-4D97-AF65-F5344CB8AC3E}">
        <p14:creationId xmlns:p14="http://schemas.microsoft.com/office/powerpoint/2010/main" val="2165976405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T REQ AND RESPONSE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05799"/>
            <a:ext cx="6045511" cy="182254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2849" y="3004683"/>
            <a:ext cx="6569388" cy="2517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640661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TTP REQ AND RESPONSE: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52" y="843734"/>
            <a:ext cx="6445581" cy="361333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9655" y="3197206"/>
            <a:ext cx="6369377" cy="3143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980258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61117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024" y="265169"/>
            <a:ext cx="11882511" cy="780674"/>
          </a:xfrm>
        </p:spPr>
        <p:txBody>
          <a:bodyPr/>
          <a:lstStyle/>
          <a:p>
            <a:r>
              <a:rPr lang="en-US" dirty="0" smtClean="0"/>
              <a:t>WHAT IS </a:t>
            </a:r>
            <a:r>
              <a:rPr lang="en-IN" dirty="0" err="1"/>
              <a:t>noiɟɔɘlʇɘ</a:t>
            </a:r>
            <a:r>
              <a:rPr lang="az-Cyrl-AZ" dirty="0"/>
              <a:t>Я</a:t>
            </a:r>
            <a:r>
              <a:rPr lang="en-US" dirty="0"/>
              <a:t> </a:t>
            </a:r>
            <a:r>
              <a:rPr lang="en-US" dirty="0" smtClean="0"/>
              <a:t>?</a:t>
            </a:r>
            <a:endParaRPr lang="en-IN" dirty="0"/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440412" y="1045843"/>
            <a:ext cx="11379200" cy="4062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US" sz="2400" dirty="0" smtClean="0"/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sz="2400" dirty="0" smtClean="0"/>
              <a:t>IRL reflection is were we examine ourselves, just as that in java reflection is used examine and modify runtime behavior of program . </a:t>
            </a:r>
          </a:p>
          <a:p>
            <a:pPr lvl="1"/>
            <a:endParaRPr lang="en-US" sz="2400" dirty="0" smtClean="0"/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sz="2400" dirty="0" smtClean="0"/>
              <a:t>It can modify class, method parameters and fields  at runtime.</a:t>
            </a:r>
          </a:p>
          <a:p>
            <a:pPr lvl="1"/>
            <a:endParaRPr lang="en-US" sz="2400" dirty="0" smtClean="0"/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sz="2400" dirty="0" smtClean="0"/>
              <a:t>Reflection </a:t>
            </a:r>
            <a:r>
              <a:rPr lang="en-US" sz="2400" dirty="0"/>
              <a:t>in Java is primarily facilitated by the </a:t>
            </a:r>
            <a:r>
              <a:rPr lang="en-US" sz="2400" b="1" dirty="0" err="1" smtClean="0"/>
              <a:t>java.lang.reflect</a:t>
            </a:r>
            <a:r>
              <a:rPr lang="en-US" sz="2400" dirty="0" smtClean="0"/>
              <a:t> </a:t>
            </a:r>
            <a:r>
              <a:rPr lang="en-US" sz="2400" dirty="0"/>
              <a:t>package, which provides classes like Class, Method, Field, </a:t>
            </a:r>
            <a:r>
              <a:rPr lang="en-US" sz="2400" dirty="0" smtClean="0"/>
              <a:t>Constructor</a:t>
            </a:r>
            <a:r>
              <a:rPr lang="en-US" sz="2400" dirty="0"/>
              <a:t>.</a:t>
            </a:r>
            <a:r>
              <a:rPr lang="en-US" sz="2400" dirty="0" smtClean="0"/>
              <a:t> Allowing </a:t>
            </a:r>
            <a:r>
              <a:rPr lang="en-US" sz="2400" dirty="0"/>
              <a:t>you to query and manipulate class members dynamically.</a:t>
            </a: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Söhne"/>
              </a:rPr>
              <a:t/>
            </a:r>
            <a:br>
              <a:rPr kumimoji="0" lang="en-US" sz="2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Söhne"/>
              </a:rPr>
            </a:b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572970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024" y="265169"/>
            <a:ext cx="11882511" cy="780674"/>
          </a:xfrm>
        </p:spPr>
        <p:txBody>
          <a:bodyPr/>
          <a:lstStyle/>
          <a:p>
            <a:r>
              <a:rPr lang="en-US" dirty="0" smtClean="0"/>
              <a:t>BASIC REFLECTION METHODS</a:t>
            </a:r>
            <a:endParaRPr lang="en-IN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8" t="-333" r="15505"/>
          <a:stretch/>
        </p:blipFill>
        <p:spPr>
          <a:xfrm>
            <a:off x="244444" y="1195057"/>
            <a:ext cx="5024673" cy="4137059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5454" y="1364032"/>
            <a:ext cx="5549846" cy="20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4521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45985" y="537882"/>
            <a:ext cx="12046015" cy="768043"/>
          </a:xfrm>
        </p:spPr>
        <p:txBody>
          <a:bodyPr/>
          <a:lstStyle/>
          <a:p>
            <a:r>
              <a:rPr lang="en-US" dirty="0" smtClean="0"/>
              <a:t>WHERE &amp; HOW IT’s USED </a:t>
            </a:r>
            <a:endParaRPr lang="en-IN" dirty="0"/>
          </a:p>
        </p:txBody>
      </p:sp>
      <p:sp>
        <p:nvSpPr>
          <p:cNvPr id="4" name="Rectangle 3"/>
          <p:cNvSpPr/>
          <p:nvPr/>
        </p:nvSpPr>
        <p:spPr>
          <a:xfrm>
            <a:off x="309623" y="1485367"/>
            <a:ext cx="10049164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Arial" panose="020B0604020202020204" pitchFamily="34" charset="0"/>
              </a:rPr>
              <a:t>In frameworks and libraries.</a:t>
            </a:r>
            <a:br>
              <a:rPr lang="en-US" sz="2400" dirty="0" smtClean="0">
                <a:latin typeface="Arial" panose="020B0604020202020204" pitchFamily="34" charset="0"/>
              </a:rPr>
            </a:br>
            <a:endParaRPr lang="en-US" sz="2400" dirty="0" smtClean="0">
              <a:latin typeface="Arial" panose="020B0604020202020204" pitchFamily="34" charset="0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Arial" panose="020B0604020202020204" pitchFamily="34" charset="0"/>
              </a:rPr>
              <a:t>In </a:t>
            </a:r>
            <a:r>
              <a:rPr lang="en-US" sz="2400" dirty="0" err="1" smtClean="0">
                <a:latin typeface="Arial" panose="020B0604020202020204" pitchFamily="34" charset="0"/>
              </a:rPr>
              <a:t>AoP</a:t>
            </a:r>
            <a:r>
              <a:rPr lang="en-US" sz="2400" dirty="0">
                <a:latin typeface="Arial" panose="020B0604020202020204" pitchFamily="34" charset="0"/>
              </a:rPr>
              <a:t/>
            </a:r>
            <a:br>
              <a:rPr lang="en-US" sz="2400" dirty="0">
                <a:latin typeface="Arial" panose="020B0604020202020204" pitchFamily="34" charset="0"/>
              </a:rPr>
            </a:br>
            <a:endParaRPr lang="en-US" sz="2400" dirty="0">
              <a:latin typeface="Arial" panose="020B0604020202020204" pitchFamily="34" charset="0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Arial" panose="020B0604020202020204" pitchFamily="34" charset="0"/>
              </a:rPr>
              <a:t>Most of features of Spring framework like </a:t>
            </a:r>
            <a:r>
              <a:rPr lang="en-US" sz="2400" dirty="0" err="1" smtClean="0">
                <a:latin typeface="Arial" panose="020B0604020202020204" pitchFamily="34" charset="0"/>
              </a:rPr>
              <a:t>DI,IoC,component</a:t>
            </a:r>
            <a:r>
              <a:rPr lang="en-US" sz="2400" dirty="0" smtClean="0">
                <a:latin typeface="Arial" panose="020B0604020202020204" pitchFamily="34" charset="0"/>
              </a:rPr>
              <a:t> </a:t>
            </a:r>
            <a:r>
              <a:rPr lang="en-US" sz="2400" dirty="0" err="1" smtClean="0">
                <a:latin typeface="Arial" panose="020B0604020202020204" pitchFamily="34" charset="0"/>
              </a:rPr>
              <a:t>scanning,Annotation</a:t>
            </a:r>
            <a:r>
              <a:rPr lang="en-US" sz="2400" dirty="0" smtClean="0">
                <a:latin typeface="Arial" panose="020B0604020202020204" pitchFamily="34" charset="0"/>
              </a:rPr>
              <a:t> </a:t>
            </a:r>
            <a:r>
              <a:rPr lang="en-US" sz="2400" dirty="0" err="1" smtClean="0">
                <a:latin typeface="Arial" panose="020B0604020202020204" pitchFamily="34" charset="0"/>
              </a:rPr>
              <a:t>processing,Property</a:t>
            </a:r>
            <a:r>
              <a:rPr lang="en-US" sz="2400" dirty="0" smtClean="0">
                <a:latin typeface="Arial" panose="020B0604020202020204" pitchFamily="34" charset="0"/>
              </a:rPr>
              <a:t> </a:t>
            </a:r>
            <a:r>
              <a:rPr lang="en-US" sz="2400" dirty="0" err="1" smtClean="0">
                <a:latin typeface="Arial" panose="020B0604020202020204" pitchFamily="34" charset="0"/>
              </a:rPr>
              <a:t>binding,custom</a:t>
            </a:r>
            <a:r>
              <a:rPr lang="en-US" sz="2400" dirty="0" smtClean="0">
                <a:latin typeface="Arial" panose="020B0604020202020204" pitchFamily="34" charset="0"/>
              </a:rPr>
              <a:t> annotation were done by use of reflection in the background .</a:t>
            </a:r>
            <a:endParaRPr lang="en-US" sz="2400" dirty="0">
              <a:latin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99256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45985" y="537882"/>
            <a:ext cx="12046015" cy="768043"/>
          </a:xfrm>
        </p:spPr>
        <p:txBody>
          <a:bodyPr/>
          <a:lstStyle/>
          <a:p>
            <a:r>
              <a:rPr lang="en-US" dirty="0" smtClean="0"/>
              <a:t>IN SPRING FRAME WORK </a:t>
            </a:r>
            <a:endParaRPr lang="en-IN" dirty="0"/>
          </a:p>
        </p:txBody>
      </p:sp>
      <p:sp>
        <p:nvSpPr>
          <p:cNvPr id="4" name="Rectangle 3"/>
          <p:cNvSpPr/>
          <p:nvPr/>
        </p:nvSpPr>
        <p:spPr>
          <a:xfrm>
            <a:off x="309623" y="1485367"/>
            <a:ext cx="10049164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Arial" panose="020B0604020202020204" pitchFamily="34" charset="0"/>
              </a:rPr>
              <a:t>Dependency Injection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Arial" panose="020B0604020202020204" pitchFamily="34" charset="0"/>
              </a:rPr>
              <a:t>Bean Instantiation</a:t>
            </a:r>
            <a:endParaRPr lang="en-US" sz="2400" dirty="0">
              <a:latin typeface="Arial" panose="020B0604020202020204" pitchFamily="34" charset="0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Arial" panose="020B0604020202020204" pitchFamily="34" charset="0"/>
              </a:rPr>
              <a:t>In Developing AOP paradigm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Arial" panose="020B0604020202020204" pitchFamily="34" charset="0"/>
              </a:rPr>
              <a:t>Annotation processing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Arial" panose="020B0604020202020204" pitchFamily="34" charset="0"/>
              </a:rPr>
              <a:t>Initializing application context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Arial" panose="020B0604020202020204" pitchFamily="34" charset="0"/>
              </a:rPr>
              <a:t>Custom annotation</a:t>
            </a:r>
            <a:r>
              <a:rPr lang="en-US" sz="2400" dirty="0">
                <a:latin typeface="Arial" panose="020B0604020202020204" pitchFamily="34" charset="0"/>
              </a:rPr>
              <a:t/>
            </a:r>
            <a:br>
              <a:rPr lang="en-US" sz="2400" dirty="0">
                <a:latin typeface="Arial" panose="020B0604020202020204" pitchFamily="34" charset="0"/>
              </a:rPr>
            </a:br>
            <a:endParaRPr lang="en-US" sz="2400" dirty="0">
              <a:latin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50125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NOTATION PROCESSING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898" y="1176950"/>
            <a:ext cx="8758959" cy="3461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2036732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92" y="495981"/>
            <a:ext cx="11882511" cy="821831"/>
          </a:xfrm>
        </p:spPr>
        <p:txBody>
          <a:bodyPr/>
          <a:lstStyle/>
          <a:p>
            <a:r>
              <a:rPr lang="en-IN" dirty="0" smtClean="0">
                <a:latin typeface="Arial" panose="020B0604020202020204" pitchFamily="34" charset="0"/>
                <a:cs typeface="Arial" panose="020B0604020202020204" pitchFamily="34" charset="0"/>
              </a:rPr>
              <a:t>Cons:</a:t>
            </a:r>
            <a:endParaRPr lang="en-IN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64534" y="1781202"/>
            <a:ext cx="10963564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ince the Reflection monitor and modify during run time compile time optimization cannot be done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The above reason relatively make the application slow.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ecurity risks(even a private class or member can be accessed )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More use of reflection leads to complex code structure and hard readability and not easy to maintain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o reflection advices to use when it is absolute necessary.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10522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59433" y="127886"/>
            <a:ext cx="11882511" cy="1066292"/>
          </a:xfrm>
        </p:spPr>
        <p:txBody>
          <a:bodyPr/>
          <a:lstStyle/>
          <a:p>
            <a:r>
              <a:rPr lang="en-IN" dirty="0" smtClean="0"/>
              <a:t>SCREEN SHOTS</a:t>
            </a:r>
            <a:endParaRPr lang="en-IN" dirty="0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31299" y="984674"/>
            <a:ext cx="11910645" cy="6776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98375" rIns="0" bIns="198375" numCol="1" anchor="ctr" anchorCtr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5896" y="1323485"/>
            <a:ext cx="6172517" cy="427377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2133" y="1323485"/>
            <a:ext cx="5880402" cy="4273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8370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Changepond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7BEB8"/>
      </a:accent1>
      <a:accent2>
        <a:srgbClr val="DC2543"/>
      </a:accent2>
      <a:accent3>
        <a:srgbClr val="284651"/>
      </a:accent3>
      <a:accent4>
        <a:srgbClr val="EFB730"/>
      </a:accent4>
      <a:accent5>
        <a:srgbClr val="4472C4"/>
      </a:accent5>
      <a:accent6>
        <a:srgbClr val="87C488"/>
      </a:accent6>
      <a:hlink>
        <a:srgbClr val="00386C"/>
      </a:hlink>
      <a:folHlink>
        <a:srgbClr val="E5A46E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fault Theme" id="{961810D3-08CE-4926-9DCF-3700EF943F31}" vid="{5F83480B-539E-4A35-B46B-818FDD955D4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8667</TotalTime>
  <Words>566</Words>
  <Application>Microsoft Office PowerPoint</Application>
  <PresentationFormat>Widescreen</PresentationFormat>
  <Paragraphs>97</Paragraphs>
  <Slides>2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2" baseType="lpstr">
      <vt:lpstr>Arial</vt:lpstr>
      <vt:lpstr>Calibri</vt:lpstr>
      <vt:lpstr>Söhne</vt:lpstr>
      <vt:lpstr>Times New Roman</vt:lpstr>
      <vt:lpstr>Wingdings</vt:lpstr>
      <vt:lpstr>Default Theme</vt:lpstr>
      <vt:lpstr>think-cell Slide</vt:lpstr>
      <vt:lpstr>Reflection    </vt:lpstr>
      <vt:lpstr>PowerPoint Presentation</vt:lpstr>
      <vt:lpstr>WHAT IS noiɟɔɘlʇɘЯ ?</vt:lpstr>
      <vt:lpstr>BASIC REFLECTION METHODS</vt:lpstr>
      <vt:lpstr>WHERE &amp; HOW IT’s USED </vt:lpstr>
      <vt:lpstr>IN SPRING FRAME WORK </vt:lpstr>
      <vt:lpstr>ANNOTATION PROCESSING</vt:lpstr>
      <vt:lpstr>Cons:</vt:lpstr>
      <vt:lpstr>SCREEN SHOTS</vt:lpstr>
      <vt:lpstr>PowerPoint Presentation</vt:lpstr>
      <vt:lpstr>PowerPoint Presentation</vt:lpstr>
      <vt:lpstr>API</vt:lpstr>
      <vt:lpstr>HOW API WORKS ?</vt:lpstr>
      <vt:lpstr>API TYPES </vt:lpstr>
      <vt:lpstr>SOAP API</vt:lpstr>
      <vt:lpstr>SOAP API</vt:lpstr>
      <vt:lpstr>USED IN</vt:lpstr>
      <vt:lpstr>SOAP REQ AND RESPONSE:</vt:lpstr>
      <vt:lpstr>API EVOLUTION:</vt:lpstr>
      <vt:lpstr>REST API:</vt:lpstr>
      <vt:lpstr>WHERE REST USED:</vt:lpstr>
      <vt:lpstr>FACTOR DRIVING EVOLUTION</vt:lpstr>
      <vt:lpstr>REST REQ AND RESPONSE</vt:lpstr>
      <vt:lpstr>HTTP REQ AND RESPONSE: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vitheran AR</dc:creator>
  <cp:lastModifiedBy>Kamarsaman Ahamed K</cp:lastModifiedBy>
  <cp:revision>891</cp:revision>
  <dcterms:created xsi:type="dcterms:W3CDTF">2023-03-20T11:59:32Z</dcterms:created>
  <dcterms:modified xsi:type="dcterms:W3CDTF">2024-01-12T05:20:03Z</dcterms:modified>
</cp:coreProperties>
</file>